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852" r:id="rId2"/>
    <p:sldMasterId id="2147483921" r:id="rId3"/>
  </p:sldMasterIdLst>
  <p:notesMasterIdLst>
    <p:notesMasterId r:id="rId6"/>
  </p:notesMasterIdLst>
  <p:sldIdLst>
    <p:sldId id="881" r:id="rId4"/>
    <p:sldId id="882" r:id="rId5"/>
  </p:sldIdLst>
  <p:sldSz cx="12192000" cy="6858000"/>
  <p:notesSz cx="7010400" cy="92964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11" userDrawn="1">
          <p15:clr>
            <a:srgbClr val="A4A3A4"/>
          </p15:clr>
        </p15:guide>
        <p15:guide id="3" orient="horz" pos="1173">
          <p15:clr>
            <a:srgbClr val="A4A3A4"/>
          </p15:clr>
        </p15:guide>
        <p15:guide id="4" pos="3839">
          <p15:clr>
            <a:srgbClr val="A4A3A4"/>
          </p15:clr>
        </p15:guide>
        <p15:guide id="5" orient="horz">
          <p15:clr>
            <a:srgbClr val="A4A3A4"/>
          </p15:clr>
        </p15:guide>
        <p15:guide id="6" orient="horz" pos="2230">
          <p15:clr>
            <a:srgbClr val="A4A3A4"/>
          </p15:clr>
        </p15:guide>
        <p15:guide id="7" orient="horz" pos="4319">
          <p15:clr>
            <a:srgbClr val="A4A3A4"/>
          </p15:clr>
        </p15:guide>
        <p15:guide id="8" orient="horz" pos="28">
          <p15:clr>
            <a:srgbClr val="A4A3A4"/>
          </p15:clr>
        </p15:guide>
        <p15:guide id="9" orient="horz" pos="993">
          <p15:clr>
            <a:srgbClr val="A4A3A4"/>
          </p15:clr>
        </p15:guide>
        <p15:guide id="10" orient="horz" pos="44">
          <p15:clr>
            <a:srgbClr val="A4A3A4"/>
          </p15:clr>
        </p15:guide>
        <p15:guide id="11" orient="horz" pos="4283">
          <p15:clr>
            <a:srgbClr val="A4A3A4"/>
          </p15:clr>
        </p15:guide>
        <p15:guide id="12" orient="horz" pos="7">
          <p15:clr>
            <a:srgbClr val="A4A3A4"/>
          </p15:clr>
        </p15:guide>
        <p15:guide id="13" orient="horz" pos="3983">
          <p15:clr>
            <a:srgbClr val="A4A3A4"/>
          </p15:clr>
        </p15:guide>
        <p15:guide id="14" orient="horz" pos="3771">
          <p15:clr>
            <a:srgbClr val="A4A3A4"/>
          </p15:clr>
        </p15:guide>
        <p15:guide id="15" orient="horz" pos="3862">
          <p15:clr>
            <a:srgbClr val="A4A3A4"/>
          </p15:clr>
        </p15:guide>
        <p15:guide id="16" orient="horz" pos="102">
          <p15:clr>
            <a:srgbClr val="A4A3A4"/>
          </p15:clr>
        </p15:guide>
        <p15:guide id="17" orient="horz" pos="2700">
          <p15:clr>
            <a:srgbClr val="A4A3A4"/>
          </p15:clr>
        </p15:guide>
        <p15:guide id="18" orient="horz" pos="775">
          <p15:clr>
            <a:srgbClr val="A4A3A4"/>
          </p15:clr>
        </p15:guide>
        <p15:guide id="19" orient="horz" pos="783">
          <p15:clr>
            <a:srgbClr val="A4A3A4"/>
          </p15:clr>
        </p15:guide>
        <p15:guide id="20" orient="horz" pos="2830">
          <p15:clr>
            <a:srgbClr val="A4A3A4"/>
          </p15:clr>
        </p15:guide>
        <p15:guide id="21" orient="horz" pos="3667">
          <p15:clr>
            <a:srgbClr val="A4A3A4"/>
          </p15:clr>
        </p15:guide>
        <p15:guide id="22" orient="horz" pos="519">
          <p15:clr>
            <a:srgbClr val="A4A3A4"/>
          </p15:clr>
        </p15:guide>
        <p15:guide id="23" orient="horz" pos="637">
          <p15:clr>
            <a:srgbClr val="A4A3A4"/>
          </p15:clr>
        </p15:guide>
        <p15:guide id="24" orient="horz" pos="413">
          <p15:clr>
            <a:srgbClr val="A4A3A4"/>
          </p15:clr>
        </p15:guide>
        <p15:guide id="25" orient="horz" pos="100">
          <p15:clr>
            <a:srgbClr val="A4A3A4"/>
          </p15:clr>
        </p15:guide>
        <p15:guide id="26" orient="horz" pos="760">
          <p15:clr>
            <a:srgbClr val="A4A3A4"/>
          </p15:clr>
        </p15:guide>
        <p15:guide id="27" orient="horz" pos="4133" userDrawn="1">
          <p15:clr>
            <a:srgbClr val="A4A3A4"/>
          </p15:clr>
        </p15:guide>
        <p15:guide id="28" orient="horz" pos="4280">
          <p15:clr>
            <a:srgbClr val="A4A3A4"/>
          </p15:clr>
        </p15:guide>
        <p15:guide id="29" orient="horz" pos="315">
          <p15:clr>
            <a:srgbClr val="A4A3A4"/>
          </p15:clr>
        </p15:guide>
        <p15:guide id="30" orient="horz" pos="4044">
          <p15:clr>
            <a:srgbClr val="A4A3A4"/>
          </p15:clr>
        </p15:guide>
        <p15:guide id="31" orient="horz" pos="782">
          <p15:clr>
            <a:srgbClr val="A4A3A4"/>
          </p15:clr>
        </p15:guide>
        <p15:guide id="32" orient="horz" pos="4215">
          <p15:clr>
            <a:srgbClr val="A4A3A4"/>
          </p15:clr>
        </p15:guide>
        <p15:guide id="33" orient="horz" pos="4250">
          <p15:clr>
            <a:srgbClr val="A4A3A4"/>
          </p15:clr>
        </p15:guide>
        <p15:guide id="34" orient="horz" pos="1918">
          <p15:clr>
            <a:srgbClr val="A4A3A4"/>
          </p15:clr>
        </p15:guide>
        <p15:guide id="35" orient="horz" pos="2200">
          <p15:clr>
            <a:srgbClr val="A4A3A4"/>
          </p15:clr>
        </p15:guide>
        <p15:guide id="36" orient="horz" pos="945">
          <p15:clr>
            <a:srgbClr val="A4A3A4"/>
          </p15:clr>
        </p15:guide>
        <p15:guide id="37" orient="horz" pos="3872">
          <p15:clr>
            <a:srgbClr val="A4A3A4"/>
          </p15:clr>
        </p15:guide>
        <p15:guide id="38" orient="horz" pos="2328">
          <p15:clr>
            <a:srgbClr val="A4A3A4"/>
          </p15:clr>
        </p15:guide>
        <p15:guide id="39" orient="horz" pos="1070">
          <p15:clr>
            <a:srgbClr val="A4A3A4"/>
          </p15:clr>
        </p15:guide>
        <p15:guide id="40" orient="horz" pos="720">
          <p15:clr>
            <a:srgbClr val="A4A3A4"/>
          </p15:clr>
        </p15:guide>
        <p15:guide id="41" orient="horz" pos="3121">
          <p15:clr>
            <a:srgbClr val="A4A3A4"/>
          </p15:clr>
        </p15:guide>
        <p15:guide id="42" orient="horz" pos="3290">
          <p15:clr>
            <a:srgbClr val="A4A3A4"/>
          </p15:clr>
        </p15:guide>
        <p15:guide id="43" orient="horz" pos="3399">
          <p15:clr>
            <a:srgbClr val="A4A3A4"/>
          </p15:clr>
        </p15:guide>
        <p15:guide id="44" orient="horz" pos="47">
          <p15:clr>
            <a:srgbClr val="A4A3A4"/>
          </p15:clr>
        </p15:guide>
        <p15:guide id="45" orient="horz" pos="3509">
          <p15:clr>
            <a:srgbClr val="A4A3A4"/>
          </p15:clr>
        </p15:guide>
        <p15:guide id="46" orient="horz" pos="1130">
          <p15:clr>
            <a:srgbClr val="A4A3A4"/>
          </p15:clr>
        </p15:guide>
        <p15:guide id="47" orient="horz" pos="3212">
          <p15:clr>
            <a:srgbClr val="A4A3A4"/>
          </p15:clr>
        </p15:guide>
        <p15:guide id="48" orient="horz" pos="4290">
          <p15:clr>
            <a:srgbClr val="A4A3A4"/>
          </p15:clr>
        </p15:guide>
        <p15:guide id="49" orient="horz" pos="3860">
          <p15:clr>
            <a:srgbClr val="A4A3A4"/>
          </p15:clr>
        </p15:guide>
        <p15:guide id="50" orient="horz" pos="2823">
          <p15:clr>
            <a:srgbClr val="A4A3A4"/>
          </p15:clr>
        </p15:guide>
        <p15:guide id="51" orient="horz" pos="4030">
          <p15:clr>
            <a:srgbClr val="A4A3A4"/>
          </p15:clr>
        </p15:guide>
        <p15:guide id="52" orient="horz" pos="3557">
          <p15:clr>
            <a:srgbClr val="A4A3A4"/>
          </p15:clr>
        </p15:guide>
        <p15:guide id="53" orient="horz" pos="1993">
          <p15:clr>
            <a:srgbClr val="A4A3A4"/>
          </p15:clr>
        </p15:guide>
        <p15:guide id="54" orient="horz" pos="735">
          <p15:clr>
            <a:srgbClr val="A4A3A4"/>
          </p15:clr>
        </p15:guide>
        <p15:guide id="55" orient="horz" pos="1939">
          <p15:clr>
            <a:srgbClr val="A4A3A4"/>
          </p15:clr>
        </p15:guide>
        <p15:guide id="56" orient="horz" pos="1458">
          <p15:clr>
            <a:srgbClr val="A4A3A4"/>
          </p15:clr>
        </p15:guide>
        <p15:guide id="57" orient="horz" pos="1772">
          <p15:clr>
            <a:srgbClr val="A4A3A4"/>
          </p15:clr>
        </p15:guide>
        <p15:guide id="58" orient="horz" pos="836">
          <p15:clr>
            <a:srgbClr val="A4A3A4"/>
          </p15:clr>
        </p15:guide>
        <p15:guide id="59" orient="horz" pos="506">
          <p15:clr>
            <a:srgbClr val="A4A3A4"/>
          </p15:clr>
        </p15:guide>
        <p15:guide id="60" orient="horz" pos="180">
          <p15:clr>
            <a:srgbClr val="A4A3A4"/>
          </p15:clr>
        </p15:guide>
        <p15:guide id="61" orient="horz" pos="253">
          <p15:clr>
            <a:srgbClr val="A4A3A4"/>
          </p15:clr>
        </p15:guide>
        <p15:guide id="62" pos="285">
          <p15:clr>
            <a:srgbClr val="A4A3A4"/>
          </p15:clr>
        </p15:guide>
        <p15:guide id="63" pos="620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7800"/>
    <a:srgbClr val="44AA7B"/>
    <a:srgbClr val="CC0000"/>
    <a:srgbClr val="FF912D"/>
    <a:srgbClr val="FF5900"/>
    <a:srgbClr val="FFFF99"/>
    <a:srgbClr val="FF7C05"/>
    <a:srgbClr val="FF5500"/>
    <a:srgbClr val="A500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6159" autoAdjust="0"/>
  </p:normalViewPr>
  <p:slideViewPr>
    <p:cSldViewPr snapToGrid="0">
      <p:cViewPr varScale="1">
        <p:scale>
          <a:sx n="110" d="100"/>
          <a:sy n="110" d="100"/>
        </p:scale>
        <p:origin x="720" y="108"/>
      </p:cViewPr>
      <p:guideLst>
        <p:guide orient="horz" pos="2160"/>
        <p:guide pos="2411"/>
        <p:guide orient="horz" pos="1173"/>
        <p:guide pos="3839"/>
        <p:guide orient="horz"/>
        <p:guide orient="horz" pos="2230"/>
        <p:guide orient="horz" pos="4319"/>
        <p:guide orient="horz" pos="28"/>
        <p:guide orient="horz" pos="993"/>
        <p:guide orient="horz" pos="44"/>
        <p:guide orient="horz" pos="4283"/>
        <p:guide orient="horz" pos="7"/>
        <p:guide orient="horz" pos="3983"/>
        <p:guide orient="horz" pos="3771"/>
        <p:guide orient="horz" pos="3862"/>
        <p:guide orient="horz" pos="102"/>
        <p:guide orient="horz" pos="2700"/>
        <p:guide orient="horz" pos="775"/>
        <p:guide orient="horz" pos="783"/>
        <p:guide orient="horz" pos="2830"/>
        <p:guide orient="horz" pos="3667"/>
        <p:guide orient="horz" pos="519"/>
        <p:guide orient="horz" pos="637"/>
        <p:guide orient="horz" pos="413"/>
        <p:guide orient="horz" pos="100"/>
        <p:guide orient="horz" pos="760"/>
        <p:guide orient="horz" pos="4133"/>
        <p:guide orient="horz" pos="4280"/>
        <p:guide orient="horz" pos="315"/>
        <p:guide orient="horz" pos="4044"/>
        <p:guide orient="horz" pos="782"/>
        <p:guide orient="horz" pos="4215"/>
        <p:guide orient="horz" pos="4250"/>
        <p:guide orient="horz" pos="1918"/>
        <p:guide orient="horz" pos="2200"/>
        <p:guide orient="horz" pos="945"/>
        <p:guide orient="horz" pos="3872"/>
        <p:guide orient="horz" pos="2328"/>
        <p:guide orient="horz" pos="1070"/>
        <p:guide orient="horz" pos="720"/>
        <p:guide orient="horz" pos="3121"/>
        <p:guide orient="horz" pos="3290"/>
        <p:guide orient="horz" pos="3399"/>
        <p:guide orient="horz" pos="47"/>
        <p:guide orient="horz" pos="3509"/>
        <p:guide orient="horz" pos="1130"/>
        <p:guide orient="horz" pos="3212"/>
        <p:guide orient="horz" pos="4290"/>
        <p:guide orient="horz" pos="3860"/>
        <p:guide orient="horz" pos="2823"/>
        <p:guide orient="horz" pos="4030"/>
        <p:guide orient="horz" pos="3557"/>
        <p:guide orient="horz" pos="1993"/>
        <p:guide orient="horz" pos="735"/>
        <p:guide orient="horz" pos="1939"/>
        <p:guide orient="horz" pos="1458"/>
        <p:guide orient="horz" pos="1772"/>
        <p:guide orient="horz" pos="836"/>
        <p:guide orient="horz" pos="506"/>
        <p:guide orient="horz" pos="180"/>
        <p:guide orient="horz" pos="253"/>
        <p:guide pos="285"/>
        <p:guide pos="62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52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564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564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3B50D2-90D3-42FF-A4B1-5C1EC62FCCC7}" type="datetimeFigureOut">
              <a:rPr lang="pt-BR" smtClean="0"/>
              <a:t>15/03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0713" y="4473770"/>
            <a:ext cx="5608975" cy="366076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830757"/>
            <a:ext cx="3038604" cy="4656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70159" y="8830757"/>
            <a:ext cx="3038604" cy="4656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1CE574-BA4A-4623-B356-A13BCE64DAB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5403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1CE574-BA4A-4623-B356-A13BCE64DABF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3485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>
            <a:off x="0" y="0"/>
            <a:ext cx="1219809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2" name="Forma livre 11"/>
          <p:cNvSpPr/>
          <p:nvPr userDrawn="1"/>
        </p:nvSpPr>
        <p:spPr>
          <a:xfrm>
            <a:off x="8018122" y="5841268"/>
            <a:ext cx="4179977" cy="1016732"/>
          </a:xfrm>
          <a:custGeom>
            <a:avLst/>
            <a:gdLst>
              <a:gd name="connsiteX0" fmla="*/ 1008112 w 4179976"/>
              <a:gd name="connsiteY0" fmla="*/ 0 h 1016732"/>
              <a:gd name="connsiteX1" fmla="*/ 4179976 w 4179976"/>
              <a:gd name="connsiteY1" fmla="*/ 0 h 1016732"/>
              <a:gd name="connsiteX2" fmla="*/ 4179976 w 4179976"/>
              <a:gd name="connsiteY2" fmla="*/ 1016732 h 1016732"/>
              <a:gd name="connsiteX3" fmla="*/ 0 w 4179976"/>
              <a:gd name="connsiteY3" fmla="*/ 1016732 h 1016732"/>
              <a:gd name="connsiteX4" fmla="*/ 0 w 4179976"/>
              <a:gd name="connsiteY4" fmla="*/ 1008112 h 1016732"/>
              <a:gd name="connsiteX5" fmla="*/ 1008112 w 4179976"/>
              <a:gd name="connsiteY5" fmla="*/ 0 h 1016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9976" h="1016732">
                <a:moveTo>
                  <a:pt x="1008112" y="0"/>
                </a:moveTo>
                <a:lnTo>
                  <a:pt x="4179976" y="0"/>
                </a:lnTo>
                <a:lnTo>
                  <a:pt x="4179976" y="1016732"/>
                </a:lnTo>
                <a:lnTo>
                  <a:pt x="0" y="1016732"/>
                </a:lnTo>
                <a:lnTo>
                  <a:pt x="0" y="1008112"/>
                </a:lnTo>
                <a:cubicBezTo>
                  <a:pt x="0" y="451347"/>
                  <a:pt x="451347" y="0"/>
                  <a:pt x="1008112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 dirty="0">
              <a:latin typeface="+mj-lt"/>
            </a:endParaRPr>
          </a:p>
        </p:txBody>
      </p:sp>
      <p:sp>
        <p:nvSpPr>
          <p:cNvPr id="14" name="Título 1"/>
          <p:cNvSpPr>
            <a:spLocks noGrp="1"/>
          </p:cNvSpPr>
          <p:nvPr>
            <p:ph type="ctrTitle"/>
          </p:nvPr>
        </p:nvSpPr>
        <p:spPr>
          <a:xfrm>
            <a:off x="243189" y="797367"/>
            <a:ext cx="5573952" cy="1249683"/>
          </a:xfrm>
        </p:spPr>
        <p:txBody>
          <a:bodyPr anchor="b">
            <a:noAutofit/>
          </a:bodyPr>
          <a:lstStyle>
            <a:lvl1pPr marL="0" indent="0" algn="l">
              <a:defRPr sz="4400" b="0">
                <a:solidFill>
                  <a:srgbClr val="6F6F6F"/>
                </a:solidFill>
                <a:latin typeface="+mj-lt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5" name="Subtítulo 2"/>
          <p:cNvSpPr>
            <a:spLocks noGrp="1"/>
          </p:cNvSpPr>
          <p:nvPr>
            <p:ph type="subTitle" idx="1"/>
          </p:nvPr>
        </p:nvSpPr>
        <p:spPr>
          <a:xfrm>
            <a:off x="243189" y="2047050"/>
            <a:ext cx="5573952" cy="519708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16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501935" y="6296754"/>
            <a:ext cx="3264441" cy="365125"/>
          </a:xfrm>
          <a:prstGeom prst="rect">
            <a:avLst/>
          </a:prstGeom>
        </p:spPr>
        <p:txBody>
          <a:bodyPr anchor="ctr"/>
          <a:lstStyle>
            <a:lvl1pPr algn="r">
              <a:defRPr sz="8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pt-BR" dirty="0"/>
              <a:t>2017</a:t>
            </a:r>
          </a:p>
        </p:txBody>
      </p:sp>
      <p:sp>
        <p:nvSpPr>
          <p:cNvPr id="17" name="TextBox 1"/>
          <p:cNvSpPr txBox="1">
            <a:spLocks noChangeArrowheads="1"/>
          </p:cNvSpPr>
          <p:nvPr userDrawn="1"/>
        </p:nvSpPr>
        <p:spPr bwMode="auto">
          <a:xfrm>
            <a:off x="8488028" y="5960274"/>
            <a:ext cx="3278348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defPPr>
              <a:defRPr lang="en-US"/>
            </a:defPPr>
            <a:lvl1pPr algn="l" defTabSz="342900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2900" indent="114300" algn="l" defTabSz="342900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85800" indent="228600" algn="l" defTabSz="342900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28700" indent="342900" algn="l" defTabSz="342900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71600" indent="457200" algn="l" defTabSz="342900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pt-BR" sz="2800" b="1" dirty="0">
                <a:solidFill>
                  <a:srgbClr val="FF6600"/>
                </a:solidFill>
                <a:latin typeface="+mj-lt"/>
                <a:ea typeface="ＭＳ Ｐゴシック" panose="020B0600070205080204" pitchFamily="34" charset="-128"/>
                <a:cs typeface="Arial" panose="020B0604020202020204" pitchFamily="34" charset="0"/>
              </a:rPr>
              <a:t>Itaú</a:t>
            </a:r>
          </a:p>
        </p:txBody>
      </p:sp>
      <p:pic>
        <p:nvPicPr>
          <p:cNvPr id="18" name="Imagem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700" y="797367"/>
            <a:ext cx="1212676" cy="121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0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56520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9"/>
          </p:nvPr>
        </p:nvSpPr>
        <p:spPr>
          <a:xfrm>
            <a:off x="336550" y="1268414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950" y="1608881"/>
            <a:ext cx="56520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6204500" y="1268414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22"/>
          </p:nvPr>
        </p:nvSpPr>
        <p:spPr>
          <a:xfrm>
            <a:off x="336000" y="4129830"/>
            <a:ext cx="56520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1" name="Espaço Reservado para Texto 3"/>
          <p:cNvSpPr>
            <a:spLocks noGrp="1"/>
          </p:cNvSpPr>
          <p:nvPr>
            <p:ph type="body" sz="quarter" idx="23"/>
          </p:nvPr>
        </p:nvSpPr>
        <p:spPr>
          <a:xfrm>
            <a:off x="336550" y="3789363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2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6203950" y="4129830"/>
            <a:ext cx="56520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3" name="Espaço Reservado para Texto 3"/>
          <p:cNvSpPr>
            <a:spLocks noGrp="1"/>
          </p:cNvSpPr>
          <p:nvPr>
            <p:ph type="body" sz="quarter" idx="25"/>
          </p:nvPr>
        </p:nvSpPr>
        <p:spPr>
          <a:xfrm>
            <a:off x="6204500" y="3789363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126320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475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4253938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8164400" y="1268413"/>
            <a:ext cx="368990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7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546148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2678" userDrawn="1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9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336550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4254107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22"/>
          </p:nvPr>
        </p:nvSpPr>
        <p:spPr>
          <a:xfrm>
            <a:off x="8171664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Espaço Reservado para Conteúdo 14"/>
          <p:cNvSpPr>
            <a:spLocks noGrp="1"/>
          </p:cNvSpPr>
          <p:nvPr>
            <p:ph sz="quarter" idx="23"/>
          </p:nvPr>
        </p:nvSpPr>
        <p:spPr>
          <a:xfrm>
            <a:off x="336000" y="1608881"/>
            <a:ext cx="3689900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3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4250775" y="1608881"/>
            <a:ext cx="3689900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Conteúdo 14"/>
          <p:cNvSpPr>
            <a:spLocks noGrp="1"/>
          </p:cNvSpPr>
          <p:nvPr>
            <p:ph sz="quarter" idx="25"/>
          </p:nvPr>
        </p:nvSpPr>
        <p:spPr>
          <a:xfrm>
            <a:off x="8165550" y="1608881"/>
            <a:ext cx="3689900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7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14637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2678" userDrawn="1">
          <p15:clr>
            <a:srgbClr val="FBAE40"/>
          </p15:clr>
        </p15:guide>
        <p15:guide id="3" pos="2536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0763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4253376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8165988" y="126841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3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340763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4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4253376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5" name="Espaço Reservado para Conteúdo 14"/>
          <p:cNvSpPr>
            <a:spLocks noGrp="1"/>
          </p:cNvSpPr>
          <p:nvPr>
            <p:ph sz="quarter" idx="22"/>
          </p:nvPr>
        </p:nvSpPr>
        <p:spPr>
          <a:xfrm>
            <a:off x="8165988" y="3789363"/>
            <a:ext cx="368990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74203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2678" userDrawn="1">
          <p15:clr>
            <a:srgbClr val="FBAE40"/>
          </p15:clr>
        </p15:guide>
        <p15:guide id="3" pos="2536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9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336550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4248091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22"/>
          </p:nvPr>
        </p:nvSpPr>
        <p:spPr>
          <a:xfrm>
            <a:off x="8159632" y="1268414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8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2" name="Espaço Reservado para Conteúdo 14"/>
          <p:cNvSpPr>
            <a:spLocks noGrp="1"/>
          </p:cNvSpPr>
          <p:nvPr>
            <p:ph sz="quarter" idx="30"/>
          </p:nvPr>
        </p:nvSpPr>
        <p:spPr>
          <a:xfrm>
            <a:off x="4247541" y="1608881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4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8159082" y="1608881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36" name="Espaço Reservado para Texto 3"/>
          <p:cNvSpPr>
            <a:spLocks noGrp="1"/>
          </p:cNvSpPr>
          <p:nvPr>
            <p:ph type="body" sz="quarter" idx="33"/>
          </p:nvPr>
        </p:nvSpPr>
        <p:spPr>
          <a:xfrm>
            <a:off x="336550" y="3787777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37" name="Espaço Reservado para Texto 3"/>
          <p:cNvSpPr>
            <a:spLocks noGrp="1"/>
          </p:cNvSpPr>
          <p:nvPr>
            <p:ph type="body" sz="quarter" idx="34"/>
          </p:nvPr>
        </p:nvSpPr>
        <p:spPr>
          <a:xfrm>
            <a:off x="4248091" y="3787777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38" name="Espaço Reservado para Texto 3"/>
          <p:cNvSpPr>
            <a:spLocks noGrp="1"/>
          </p:cNvSpPr>
          <p:nvPr>
            <p:ph type="body" sz="quarter" idx="35"/>
          </p:nvPr>
        </p:nvSpPr>
        <p:spPr>
          <a:xfrm>
            <a:off x="8159632" y="3787777"/>
            <a:ext cx="368935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39" name="Espaço Reservado para Conteúdo 14"/>
          <p:cNvSpPr>
            <a:spLocks noGrp="1"/>
          </p:cNvSpPr>
          <p:nvPr>
            <p:ph sz="quarter" idx="36"/>
          </p:nvPr>
        </p:nvSpPr>
        <p:spPr>
          <a:xfrm>
            <a:off x="336000" y="4128244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0" name="Espaço Reservado para Conteúdo 14"/>
          <p:cNvSpPr>
            <a:spLocks noGrp="1"/>
          </p:cNvSpPr>
          <p:nvPr>
            <p:ph sz="quarter" idx="37"/>
          </p:nvPr>
        </p:nvSpPr>
        <p:spPr>
          <a:xfrm>
            <a:off x="4247541" y="4128244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1" name="Espaço Reservado para Conteúdo 14"/>
          <p:cNvSpPr>
            <a:spLocks noGrp="1"/>
          </p:cNvSpPr>
          <p:nvPr>
            <p:ph sz="quarter" idx="38"/>
          </p:nvPr>
        </p:nvSpPr>
        <p:spPr>
          <a:xfrm>
            <a:off x="8159082" y="4128244"/>
            <a:ext cx="368990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9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20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1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40012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2678" userDrawn="1">
          <p15:clr>
            <a:srgbClr val="FBAE40"/>
          </p15:clr>
        </p15:guide>
        <p15:guide id="3" pos="2536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  <p15:guide id="6" pos="4997">
          <p15:clr>
            <a:srgbClr val="FBAE40"/>
          </p15:clr>
        </p15:guide>
        <p15:guide id="7" pos="51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937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276050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9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6208163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1" name="Espaço Reservado para Conteúdo 14"/>
          <p:cNvSpPr>
            <a:spLocks noGrp="1"/>
          </p:cNvSpPr>
          <p:nvPr>
            <p:ph sz="quarter" idx="23"/>
          </p:nvPr>
        </p:nvSpPr>
        <p:spPr>
          <a:xfrm>
            <a:off x="9140276" y="1268413"/>
            <a:ext cx="2716763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828172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Assunto</a:t>
            </a:r>
          </a:p>
        </p:txBody>
      </p:sp>
      <p:sp>
        <p:nvSpPr>
          <p:cNvPr id="17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2716763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0" name="Espaço Reservado para Texto 3"/>
          <p:cNvSpPr>
            <a:spLocks noGrp="1"/>
          </p:cNvSpPr>
          <p:nvPr>
            <p:ph type="body" sz="quarter" idx="23"/>
          </p:nvPr>
        </p:nvSpPr>
        <p:spPr>
          <a:xfrm>
            <a:off x="3277151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1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276601" y="1608881"/>
            <a:ext cx="2716763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4" name="Espaço Reservado para Texto 3"/>
          <p:cNvSpPr>
            <a:spLocks noGrp="1"/>
          </p:cNvSpPr>
          <p:nvPr>
            <p:ph type="body" sz="quarter" idx="27"/>
          </p:nvPr>
        </p:nvSpPr>
        <p:spPr>
          <a:xfrm>
            <a:off x="6217607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5" name="Espaço Reservado para Conteúdo 14"/>
          <p:cNvSpPr>
            <a:spLocks noGrp="1"/>
          </p:cNvSpPr>
          <p:nvPr>
            <p:ph sz="quarter" idx="28"/>
          </p:nvPr>
        </p:nvSpPr>
        <p:spPr>
          <a:xfrm>
            <a:off x="6217057" y="1608881"/>
            <a:ext cx="2716763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5" name="Espaço Reservado para Texto 3"/>
          <p:cNvSpPr>
            <a:spLocks noGrp="1"/>
          </p:cNvSpPr>
          <p:nvPr>
            <p:ph type="body" sz="quarter" idx="31"/>
          </p:nvPr>
        </p:nvSpPr>
        <p:spPr>
          <a:xfrm>
            <a:off x="9158208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6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9157658" y="1608881"/>
            <a:ext cx="2716763" cy="4483944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2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949258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pos="2061">
          <p15:clr>
            <a:srgbClr val="FBAE40"/>
          </p15:clr>
        </p15:guide>
        <p15:guide id="5" pos="1923">
          <p15:clr>
            <a:srgbClr val="FBAE40"/>
          </p15:clr>
        </p15:guide>
        <p15:guide id="6" pos="5621">
          <p15:clr>
            <a:srgbClr val="FBAE40"/>
          </p15:clr>
        </p15:guide>
        <p15:guide id="7" pos="57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43937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7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276050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9" name="Espaço Reservado para Conteúdo 14"/>
          <p:cNvSpPr>
            <a:spLocks noGrp="1"/>
          </p:cNvSpPr>
          <p:nvPr>
            <p:ph sz="quarter" idx="21"/>
          </p:nvPr>
        </p:nvSpPr>
        <p:spPr>
          <a:xfrm>
            <a:off x="6208163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1" name="Espaço Reservado para Conteúdo 14"/>
          <p:cNvSpPr>
            <a:spLocks noGrp="1"/>
          </p:cNvSpPr>
          <p:nvPr>
            <p:ph sz="quarter" idx="23"/>
          </p:nvPr>
        </p:nvSpPr>
        <p:spPr>
          <a:xfrm>
            <a:off x="9140276" y="126841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17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43937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18" name="Espaço Reservado para Conteúdo 14"/>
          <p:cNvSpPr>
            <a:spLocks noGrp="1"/>
          </p:cNvSpPr>
          <p:nvPr>
            <p:ph sz="quarter" idx="25"/>
          </p:nvPr>
        </p:nvSpPr>
        <p:spPr>
          <a:xfrm>
            <a:off x="3276050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19" name="Espaço Reservado para Conteúdo 14"/>
          <p:cNvSpPr>
            <a:spLocks noGrp="1"/>
          </p:cNvSpPr>
          <p:nvPr>
            <p:ph sz="quarter" idx="26"/>
          </p:nvPr>
        </p:nvSpPr>
        <p:spPr>
          <a:xfrm>
            <a:off x="6208163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0" name="Espaço Reservado para Conteúdo 14"/>
          <p:cNvSpPr>
            <a:spLocks noGrp="1"/>
          </p:cNvSpPr>
          <p:nvPr>
            <p:ph sz="quarter" idx="27"/>
          </p:nvPr>
        </p:nvSpPr>
        <p:spPr>
          <a:xfrm>
            <a:off x="9140276" y="3789363"/>
            <a:ext cx="2716763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5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56741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>
          <p15:clr>
            <a:srgbClr val="FBAE40"/>
          </p15:clr>
        </p15:guide>
        <p15:guide id="5" orient="horz" pos="2251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550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Assunto</a:t>
            </a:r>
          </a:p>
        </p:txBody>
      </p:sp>
      <p:sp>
        <p:nvSpPr>
          <p:cNvPr id="17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0" name="Espaço Reservado para Texto 3"/>
          <p:cNvSpPr>
            <a:spLocks noGrp="1"/>
          </p:cNvSpPr>
          <p:nvPr>
            <p:ph type="body" sz="quarter" idx="23"/>
          </p:nvPr>
        </p:nvSpPr>
        <p:spPr>
          <a:xfrm>
            <a:off x="3277151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1" name="Espaço Reservado para Conteúdo 14"/>
          <p:cNvSpPr>
            <a:spLocks noGrp="1"/>
          </p:cNvSpPr>
          <p:nvPr>
            <p:ph sz="quarter" idx="24"/>
          </p:nvPr>
        </p:nvSpPr>
        <p:spPr>
          <a:xfrm>
            <a:off x="3276601" y="1608881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4" name="Espaço Reservado para Texto 3"/>
          <p:cNvSpPr>
            <a:spLocks noGrp="1"/>
          </p:cNvSpPr>
          <p:nvPr>
            <p:ph type="body" sz="quarter" idx="27"/>
          </p:nvPr>
        </p:nvSpPr>
        <p:spPr>
          <a:xfrm>
            <a:off x="6217607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5" name="Espaço Reservado para Conteúdo 14"/>
          <p:cNvSpPr>
            <a:spLocks noGrp="1"/>
          </p:cNvSpPr>
          <p:nvPr>
            <p:ph sz="quarter" idx="28"/>
          </p:nvPr>
        </p:nvSpPr>
        <p:spPr>
          <a:xfrm>
            <a:off x="6217057" y="1608881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5" name="Espaço Reservado para Texto 3"/>
          <p:cNvSpPr>
            <a:spLocks noGrp="1"/>
          </p:cNvSpPr>
          <p:nvPr>
            <p:ph type="body" sz="quarter" idx="31"/>
          </p:nvPr>
        </p:nvSpPr>
        <p:spPr>
          <a:xfrm>
            <a:off x="9158208" y="1268414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36" name="Espaço Reservado para Conteúdo 14"/>
          <p:cNvSpPr>
            <a:spLocks noGrp="1"/>
          </p:cNvSpPr>
          <p:nvPr>
            <p:ph sz="quarter" idx="32"/>
          </p:nvPr>
        </p:nvSpPr>
        <p:spPr>
          <a:xfrm>
            <a:off x="9157658" y="1608881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3" name="Espaço Reservado para Texto 3"/>
          <p:cNvSpPr>
            <a:spLocks noGrp="1"/>
          </p:cNvSpPr>
          <p:nvPr>
            <p:ph type="body" sz="quarter" idx="33" hasCustomPrompt="1"/>
          </p:nvPr>
        </p:nvSpPr>
        <p:spPr>
          <a:xfrm>
            <a:off x="336550" y="3787777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Assunto</a:t>
            </a:r>
          </a:p>
        </p:txBody>
      </p:sp>
      <p:sp>
        <p:nvSpPr>
          <p:cNvPr id="44" name="Espaço Reservado para Conteúdo 14"/>
          <p:cNvSpPr>
            <a:spLocks noGrp="1"/>
          </p:cNvSpPr>
          <p:nvPr>
            <p:ph sz="quarter" idx="34"/>
          </p:nvPr>
        </p:nvSpPr>
        <p:spPr>
          <a:xfrm>
            <a:off x="336000" y="4128244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5" name="Espaço Reservado para Texto 3"/>
          <p:cNvSpPr>
            <a:spLocks noGrp="1"/>
          </p:cNvSpPr>
          <p:nvPr>
            <p:ph type="body" sz="quarter" idx="35"/>
          </p:nvPr>
        </p:nvSpPr>
        <p:spPr>
          <a:xfrm>
            <a:off x="3277151" y="3787777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6" name="Espaço Reservado para Conteúdo 14"/>
          <p:cNvSpPr>
            <a:spLocks noGrp="1"/>
          </p:cNvSpPr>
          <p:nvPr>
            <p:ph sz="quarter" idx="36"/>
          </p:nvPr>
        </p:nvSpPr>
        <p:spPr>
          <a:xfrm>
            <a:off x="3276601" y="4128244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7" name="Espaço Reservado para Texto 3"/>
          <p:cNvSpPr>
            <a:spLocks noGrp="1"/>
          </p:cNvSpPr>
          <p:nvPr>
            <p:ph type="body" sz="quarter" idx="37"/>
          </p:nvPr>
        </p:nvSpPr>
        <p:spPr>
          <a:xfrm>
            <a:off x="6217607" y="3787777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8" name="Espaço Reservado para Conteúdo 14"/>
          <p:cNvSpPr>
            <a:spLocks noGrp="1"/>
          </p:cNvSpPr>
          <p:nvPr>
            <p:ph sz="quarter" idx="38"/>
          </p:nvPr>
        </p:nvSpPr>
        <p:spPr>
          <a:xfrm>
            <a:off x="6217057" y="4128244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49" name="Espaço Reservado para Texto 3"/>
          <p:cNvSpPr>
            <a:spLocks noGrp="1"/>
          </p:cNvSpPr>
          <p:nvPr>
            <p:ph type="body" sz="quarter" idx="39"/>
          </p:nvPr>
        </p:nvSpPr>
        <p:spPr>
          <a:xfrm>
            <a:off x="9158208" y="3787777"/>
            <a:ext cx="2716358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50" name="Espaço Reservado para Conteúdo 14"/>
          <p:cNvSpPr>
            <a:spLocks noGrp="1"/>
          </p:cNvSpPr>
          <p:nvPr>
            <p:ph sz="quarter" idx="40"/>
          </p:nvPr>
        </p:nvSpPr>
        <p:spPr>
          <a:xfrm>
            <a:off x="9157658" y="4128244"/>
            <a:ext cx="2716763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</a:t>
            </a:r>
          </a:p>
        </p:txBody>
      </p:sp>
      <p:sp>
        <p:nvSpPr>
          <p:cNvPr id="2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23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6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34521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  <p15:guide id="6" pos="2061">
          <p15:clr>
            <a:srgbClr val="FBAE40"/>
          </p15:clr>
        </p15:guide>
        <p15:guide id="7" pos="1923">
          <p15:clr>
            <a:srgbClr val="FBAE40"/>
          </p15:clr>
        </p15:guide>
        <p15:guide id="8" pos="5621">
          <p15:clr>
            <a:srgbClr val="FBAE40"/>
          </p15:clr>
        </p15:guide>
        <p15:guide id="9" pos="575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adr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9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96763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115194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8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34256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sem Rodap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6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9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91903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6722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95176" y="6414760"/>
            <a:ext cx="258624" cy="248305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640868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1" y="2130432"/>
            <a:ext cx="10363200" cy="1470025"/>
          </a:xfrm>
          <a:prstGeom prst="rect">
            <a:avLst/>
          </a:prstGeom>
        </p:spPr>
        <p:txBody>
          <a:bodyPr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99611" tIns="49805" rIns="99611" bIns="49805"/>
          <a:lstStyle>
            <a:lvl1pPr marL="0" indent="0" algn="ctr">
              <a:buNone/>
              <a:defRPr/>
            </a:lvl1pPr>
            <a:lvl2pPr marL="498055" indent="0" algn="ctr">
              <a:buNone/>
              <a:defRPr/>
            </a:lvl2pPr>
            <a:lvl3pPr marL="996111" indent="0" algn="ctr">
              <a:buNone/>
              <a:defRPr/>
            </a:lvl3pPr>
            <a:lvl4pPr marL="1494166" indent="0" algn="ctr">
              <a:buNone/>
              <a:defRPr/>
            </a:lvl4pPr>
            <a:lvl5pPr marL="1992222" indent="0" algn="ctr">
              <a:buNone/>
              <a:defRPr/>
            </a:lvl5pPr>
            <a:lvl6pPr marL="2490276" indent="0" algn="ctr">
              <a:buNone/>
              <a:defRPr/>
            </a:lvl6pPr>
            <a:lvl7pPr marL="2988333" indent="0" algn="ctr">
              <a:buNone/>
              <a:defRPr/>
            </a:lvl7pPr>
            <a:lvl8pPr marL="3486388" indent="0" algn="ctr">
              <a:buNone/>
              <a:defRPr/>
            </a:lvl8pPr>
            <a:lvl9pPr marL="3984442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123518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lIns="99611" tIns="49805" rIns="99611" bIns="49805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842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5" y="4406903"/>
            <a:ext cx="10363200" cy="1362076"/>
          </a:xfrm>
          <a:prstGeom prst="rect">
            <a:avLst/>
          </a:prstGeom>
        </p:spPr>
        <p:txBody>
          <a:bodyPr lIns="99611" tIns="49805" rIns="99611" bIns="49805" anchor="t"/>
          <a:lstStyle>
            <a:lvl1pPr algn="l">
              <a:defRPr sz="43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5" y="2906719"/>
            <a:ext cx="10363200" cy="1500187"/>
          </a:xfrm>
          <a:prstGeom prst="rect">
            <a:avLst/>
          </a:prstGeom>
        </p:spPr>
        <p:txBody>
          <a:bodyPr lIns="99611" tIns="49805" rIns="99611" bIns="49805" anchor="b"/>
          <a:lstStyle>
            <a:lvl1pPr marL="0" indent="0">
              <a:buNone/>
              <a:defRPr sz="2200"/>
            </a:lvl1pPr>
            <a:lvl2pPr marL="498055" indent="0">
              <a:buNone/>
              <a:defRPr sz="1900"/>
            </a:lvl2pPr>
            <a:lvl3pPr marL="996111" indent="0">
              <a:buNone/>
              <a:defRPr sz="1800"/>
            </a:lvl3pPr>
            <a:lvl4pPr marL="1494166" indent="0">
              <a:buNone/>
              <a:defRPr sz="1500"/>
            </a:lvl4pPr>
            <a:lvl5pPr marL="1992222" indent="0">
              <a:buNone/>
              <a:defRPr sz="1500"/>
            </a:lvl5pPr>
            <a:lvl6pPr marL="2490276" indent="0">
              <a:buNone/>
              <a:defRPr sz="1500"/>
            </a:lvl6pPr>
            <a:lvl7pPr marL="2988333" indent="0">
              <a:buNone/>
              <a:defRPr sz="1500"/>
            </a:lvl7pPr>
            <a:lvl8pPr marL="3486388" indent="0">
              <a:buNone/>
              <a:defRPr sz="1500"/>
            </a:lvl8pPr>
            <a:lvl9pPr marL="3984442" indent="0">
              <a:buNone/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30174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1" y="1600205"/>
            <a:ext cx="5384800" cy="4525963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 sz="3100"/>
            </a:lvl1pPr>
            <a:lvl2pPr>
              <a:defRPr sz="27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894584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  <a:prstGeom prst="rect">
            <a:avLst/>
          </a:prstGeom>
        </p:spPr>
        <p:txBody>
          <a:bodyPr lIns="99611" tIns="49805" rIns="99611" bIns="49805" anchor="b"/>
          <a:lstStyle>
            <a:lvl1pPr marL="0" indent="0">
              <a:buNone/>
              <a:defRPr sz="2700" b="1"/>
            </a:lvl1pPr>
            <a:lvl2pPr marL="498055" indent="0">
              <a:buNone/>
              <a:defRPr sz="2200" b="1"/>
            </a:lvl2pPr>
            <a:lvl3pPr marL="996111" indent="0">
              <a:buNone/>
              <a:defRPr sz="1900" b="1"/>
            </a:lvl3pPr>
            <a:lvl4pPr marL="1494166" indent="0">
              <a:buNone/>
              <a:defRPr sz="1800" b="1"/>
            </a:lvl4pPr>
            <a:lvl5pPr marL="1992222" indent="0">
              <a:buNone/>
              <a:defRPr sz="1800" b="1"/>
            </a:lvl5pPr>
            <a:lvl6pPr marL="2490276" indent="0">
              <a:buNone/>
              <a:defRPr sz="1800" b="1"/>
            </a:lvl6pPr>
            <a:lvl7pPr marL="2988333" indent="0">
              <a:buNone/>
              <a:defRPr sz="1800" b="1"/>
            </a:lvl7pPr>
            <a:lvl8pPr marL="3486388" indent="0">
              <a:buNone/>
              <a:defRPr sz="1800" b="1"/>
            </a:lvl8pPr>
            <a:lvl9pPr marL="3984442" indent="0">
              <a:buNone/>
              <a:defRPr sz="18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 sz="27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72" y="1535117"/>
            <a:ext cx="5389033" cy="639763"/>
          </a:xfrm>
          <a:prstGeom prst="rect">
            <a:avLst/>
          </a:prstGeom>
        </p:spPr>
        <p:txBody>
          <a:bodyPr lIns="99611" tIns="49805" rIns="99611" bIns="49805" anchor="b"/>
          <a:lstStyle>
            <a:lvl1pPr marL="0" indent="0">
              <a:buNone/>
              <a:defRPr sz="2700" b="1"/>
            </a:lvl1pPr>
            <a:lvl2pPr marL="498055" indent="0">
              <a:buNone/>
              <a:defRPr sz="2200" b="1"/>
            </a:lvl2pPr>
            <a:lvl3pPr marL="996111" indent="0">
              <a:buNone/>
              <a:defRPr sz="1900" b="1"/>
            </a:lvl3pPr>
            <a:lvl4pPr marL="1494166" indent="0">
              <a:buNone/>
              <a:defRPr sz="1800" b="1"/>
            </a:lvl4pPr>
            <a:lvl5pPr marL="1992222" indent="0">
              <a:buNone/>
              <a:defRPr sz="1800" b="1"/>
            </a:lvl5pPr>
            <a:lvl6pPr marL="2490276" indent="0">
              <a:buNone/>
              <a:defRPr sz="1800" b="1"/>
            </a:lvl6pPr>
            <a:lvl7pPr marL="2988333" indent="0">
              <a:buNone/>
              <a:defRPr sz="1800" b="1"/>
            </a:lvl7pPr>
            <a:lvl8pPr marL="3486388" indent="0">
              <a:buNone/>
              <a:defRPr sz="1800" b="1"/>
            </a:lvl8pPr>
            <a:lvl9pPr marL="3984442" indent="0">
              <a:buNone/>
              <a:defRPr sz="18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 sz="27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333205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880189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7006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beçalho da Seçã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>
            <a:spLocks noGrp="1"/>
          </p:cNvSpPr>
          <p:nvPr>
            <p:ph type="title" hasCustomPrompt="1"/>
          </p:nvPr>
        </p:nvSpPr>
        <p:spPr>
          <a:xfrm>
            <a:off x="653761" y="188914"/>
            <a:ext cx="7815264" cy="167313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rgbClr val="FF6600"/>
                </a:solidFill>
              </a:defRPr>
            </a:lvl1pPr>
          </a:lstStyle>
          <a:p>
            <a:r>
              <a:rPr lang="pt-BR" dirty="0"/>
              <a:t>Agenda</a:t>
            </a:r>
          </a:p>
        </p:txBody>
      </p:sp>
      <p:sp>
        <p:nvSpPr>
          <p:cNvPr id="7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647410" y="1991540"/>
            <a:ext cx="7815264" cy="3993335"/>
          </a:xfrm>
        </p:spPr>
        <p:txBody>
          <a:bodyPr>
            <a:normAutofit/>
          </a:bodyPr>
          <a:lstStyle>
            <a:lvl1pPr marL="457206" marR="0" indent="-457206" algn="l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>
                <a:solidFill>
                  <a:schemeClr val="accent6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  <a:p>
            <a:pPr marL="457206" marR="0" lvl="0" indent="-457206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pt-BR" dirty="0"/>
              <a:t>Assunto</a:t>
            </a:r>
          </a:p>
        </p:txBody>
      </p:sp>
      <p:sp>
        <p:nvSpPr>
          <p:cNvPr id="9" name="TextBox 9"/>
          <p:cNvSpPr txBox="1">
            <a:spLocks noChangeArrowheads="1"/>
          </p:cNvSpPr>
          <p:nvPr userDrawn="1"/>
        </p:nvSpPr>
        <p:spPr bwMode="auto">
          <a:xfrm>
            <a:off x="336000" y="638247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altLang="pt-BR" sz="1001" b="1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taú</a:t>
            </a:r>
            <a:r>
              <a:rPr lang="pt-BR" altLang="pt-BR" sz="1001" b="0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| Información de Uso Interno</a:t>
            </a:r>
            <a:endParaRPr lang="en-US" altLang="pt-BR" sz="1001" b="0" dirty="0">
              <a:solidFill>
                <a:schemeClr val="accent6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10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8808" y="6019698"/>
            <a:ext cx="721534" cy="72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2717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3" y="273055"/>
            <a:ext cx="4011084" cy="1162051"/>
          </a:xfrm>
          <a:prstGeom prst="rect">
            <a:avLst/>
          </a:prstGeom>
        </p:spPr>
        <p:txBody>
          <a:bodyPr lIns="99611" tIns="49805" rIns="99611" bIns="49805" anchor="b"/>
          <a:lstStyle>
            <a:lvl1pPr algn="l">
              <a:defRPr sz="22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7" y="273057"/>
            <a:ext cx="6815667" cy="5853113"/>
          </a:xfrm>
          <a:prstGeom prst="rect">
            <a:avLst/>
          </a:prstGeom>
        </p:spPr>
        <p:txBody>
          <a:bodyPr lIns="99611" tIns="49805" rIns="99611" bIns="49805"/>
          <a:lstStyle>
            <a:lvl1pPr>
              <a:defRPr sz="3500"/>
            </a:lvl1pPr>
            <a:lvl2pPr>
              <a:defRPr sz="31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 lIns="99611" tIns="49805" rIns="99611" bIns="49805"/>
          <a:lstStyle>
            <a:lvl1pPr marL="0" indent="0">
              <a:buNone/>
              <a:defRPr sz="1500"/>
            </a:lvl1pPr>
            <a:lvl2pPr marL="498055" indent="0">
              <a:buNone/>
              <a:defRPr sz="1300"/>
            </a:lvl2pPr>
            <a:lvl3pPr marL="996111" indent="0">
              <a:buNone/>
              <a:defRPr sz="1100"/>
            </a:lvl3pPr>
            <a:lvl4pPr marL="1494166" indent="0">
              <a:buNone/>
              <a:defRPr sz="1100"/>
            </a:lvl4pPr>
            <a:lvl5pPr marL="1992222" indent="0">
              <a:buNone/>
              <a:defRPr sz="1100"/>
            </a:lvl5pPr>
            <a:lvl6pPr marL="2490276" indent="0">
              <a:buNone/>
              <a:defRPr sz="1100"/>
            </a:lvl6pPr>
            <a:lvl7pPr marL="2988333" indent="0">
              <a:buNone/>
              <a:defRPr sz="1100"/>
            </a:lvl7pPr>
            <a:lvl8pPr marL="3486388" indent="0">
              <a:buNone/>
              <a:defRPr sz="1100"/>
            </a:lvl8pPr>
            <a:lvl9pPr marL="3984442" indent="0">
              <a:buNone/>
              <a:defRPr sz="11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901353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4"/>
            <a:ext cx="7315200" cy="566739"/>
          </a:xfrm>
          <a:prstGeom prst="rect">
            <a:avLst/>
          </a:prstGeom>
        </p:spPr>
        <p:txBody>
          <a:bodyPr lIns="99611" tIns="49805" rIns="99611" bIns="49805" anchor="b"/>
          <a:lstStyle>
            <a:lvl1pPr algn="l">
              <a:defRPr sz="22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lIns="99611" tIns="49805" rIns="99611" bIns="49805"/>
          <a:lstStyle>
            <a:lvl1pPr marL="0" indent="0">
              <a:buNone/>
              <a:defRPr sz="3500"/>
            </a:lvl1pPr>
            <a:lvl2pPr marL="498055" indent="0">
              <a:buNone/>
              <a:defRPr sz="3100"/>
            </a:lvl2pPr>
            <a:lvl3pPr marL="996111" indent="0">
              <a:buNone/>
              <a:defRPr sz="2700"/>
            </a:lvl3pPr>
            <a:lvl4pPr marL="1494166" indent="0">
              <a:buNone/>
              <a:defRPr sz="2200"/>
            </a:lvl4pPr>
            <a:lvl5pPr marL="1992222" indent="0">
              <a:buNone/>
              <a:defRPr sz="2200"/>
            </a:lvl5pPr>
            <a:lvl6pPr marL="2490276" indent="0">
              <a:buNone/>
              <a:defRPr sz="2200"/>
            </a:lvl6pPr>
            <a:lvl7pPr marL="2988333" indent="0">
              <a:buNone/>
              <a:defRPr sz="2200"/>
            </a:lvl7pPr>
            <a:lvl8pPr marL="3486388" indent="0">
              <a:buNone/>
              <a:defRPr sz="2200"/>
            </a:lvl8pPr>
            <a:lvl9pPr marL="3984442" indent="0">
              <a:buNone/>
              <a:defRPr sz="2200"/>
            </a:lvl9pPr>
          </a:lstStyle>
          <a:p>
            <a:pPr lvl="0"/>
            <a:endParaRPr lang="es-CO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1"/>
          </a:xfrm>
          <a:prstGeom prst="rect">
            <a:avLst/>
          </a:prstGeom>
        </p:spPr>
        <p:txBody>
          <a:bodyPr lIns="99611" tIns="49805" rIns="99611" bIns="49805"/>
          <a:lstStyle>
            <a:lvl1pPr marL="0" indent="0">
              <a:buNone/>
              <a:defRPr sz="1500"/>
            </a:lvl1pPr>
            <a:lvl2pPr marL="498055" indent="0">
              <a:buNone/>
              <a:defRPr sz="1300"/>
            </a:lvl2pPr>
            <a:lvl3pPr marL="996111" indent="0">
              <a:buNone/>
              <a:defRPr sz="1100"/>
            </a:lvl3pPr>
            <a:lvl4pPr marL="1494166" indent="0">
              <a:buNone/>
              <a:defRPr sz="1100"/>
            </a:lvl4pPr>
            <a:lvl5pPr marL="1992222" indent="0">
              <a:buNone/>
              <a:defRPr sz="1100"/>
            </a:lvl5pPr>
            <a:lvl6pPr marL="2490276" indent="0">
              <a:buNone/>
              <a:defRPr sz="1100"/>
            </a:lvl6pPr>
            <a:lvl7pPr marL="2988333" indent="0">
              <a:buNone/>
              <a:defRPr sz="1100"/>
            </a:lvl7pPr>
            <a:lvl8pPr marL="3486388" indent="0">
              <a:buNone/>
              <a:defRPr sz="1100"/>
            </a:lvl8pPr>
            <a:lvl9pPr marL="3984442" indent="0">
              <a:buNone/>
              <a:defRPr sz="11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40637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eaVert" lIns="99611" tIns="49805" rIns="99611" bIns="49805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89858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1" y="274643"/>
            <a:ext cx="2743200" cy="5851525"/>
          </a:xfrm>
          <a:prstGeom prst="rect">
            <a:avLst/>
          </a:prstGeom>
        </p:spPr>
        <p:txBody>
          <a:bodyPr vert="eaVert" lIns="99611" tIns="49805" rIns="99611" bIns="49805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1" y="274643"/>
            <a:ext cx="8026400" cy="5851525"/>
          </a:xfrm>
          <a:prstGeom prst="rect">
            <a:avLst/>
          </a:prstGeom>
        </p:spPr>
        <p:txBody>
          <a:bodyPr vert="eaVert" lIns="99611" tIns="49805" rIns="99611" bIns="49805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014060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Title Elements"/>
          <p:cNvGrpSpPr/>
          <p:nvPr userDrawn="1"/>
        </p:nvGrpSpPr>
        <p:grpSpPr>
          <a:xfrm>
            <a:off x="14" y="3"/>
            <a:ext cx="12187681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25749"/>
              <a:ext cx="4935538" cy="2865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sz="190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Document type</a:t>
              </a:r>
              <a:endParaRPr lang="es-ES_tradnl" sz="19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865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sz="1900" dirty="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85909"/>
              <a:ext cx="5121275" cy="3318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10731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CONFIDENTIAL AND PROPRIETARY</a:t>
              </a:r>
              <a:endParaRPr lang="es-ES_tradnl" sz="11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  <a:p>
              <a:pPr defTabSz="107312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Any use of this material without specific permission of McKinsey &amp; Company is strictly prohibited</a:t>
              </a:r>
              <a:endParaRPr lang="es-ES_tradnl" sz="11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21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21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s-ES_tradnl" sz="21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102" y="6574547"/>
            <a:ext cx="2226740" cy="19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881193" y="2974802"/>
            <a:ext cx="9021431" cy="733545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2700" b="1" baseline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s-ES_tradnl" noProof="0" dirty="0" err="1"/>
              <a:t>Click</a:t>
            </a:r>
            <a:r>
              <a:rPr lang="es-ES_tradnl" noProof="0" dirty="0"/>
              <a:t> to </a:t>
            </a:r>
            <a:r>
              <a:rPr lang="es-ES_tradnl" noProof="0" dirty="0" err="1"/>
              <a:t>edit</a:t>
            </a:r>
            <a:r>
              <a:rPr lang="es-ES_tradnl" noProof="0" dirty="0"/>
              <a:t> Master </a:t>
            </a:r>
            <a:r>
              <a:rPr lang="es-ES_tradnl" noProof="0" dirty="0" err="1"/>
              <a:t>title</a:t>
            </a:r>
            <a:r>
              <a:rPr lang="es-ES_tradnl" noProof="0" dirty="0"/>
              <a:t> </a:t>
            </a:r>
            <a:r>
              <a:rPr lang="es-ES_tradnl" noProof="0" dirty="0" err="1"/>
              <a:t>style</a:t>
            </a:r>
            <a:endParaRPr lang="es-ES_tradnl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881193" y="3708337"/>
            <a:ext cx="9021431" cy="424371"/>
          </a:xfrm>
          <a:prstGeom prst="rect">
            <a:avLst/>
          </a:pr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>
              <a:defRPr sz="19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s-ES_tradnl" noProof="0" dirty="0" err="1"/>
              <a:t>Click</a:t>
            </a:r>
            <a:r>
              <a:rPr lang="es-ES_tradnl" noProof="0" dirty="0"/>
              <a:t> to </a:t>
            </a:r>
            <a:r>
              <a:rPr lang="es-ES_tradnl" noProof="0" dirty="0" err="1"/>
              <a:t>edit</a:t>
            </a:r>
            <a:r>
              <a:rPr lang="es-ES_tradnl" noProof="0" dirty="0"/>
              <a:t> Master </a:t>
            </a:r>
            <a:r>
              <a:rPr lang="es-ES_tradnl" noProof="0" dirty="0" err="1"/>
              <a:t>subtitle</a:t>
            </a:r>
            <a:r>
              <a:rPr lang="es-ES_tradnl" noProof="0" dirty="0"/>
              <a:t> </a:t>
            </a:r>
            <a:r>
              <a:rPr lang="es-ES_tradnl" noProof="0" dirty="0" err="1"/>
              <a:t>style</a:t>
            </a:r>
            <a:endParaRPr lang="es-ES_tradnl" noProof="0" dirty="0"/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_tradnl" sz="1100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9"/>
          <p:cNvSpPr>
            <a:spLocks noChangeArrowheads="1"/>
          </p:cNvSpPr>
          <p:nvPr userDrawn="1"/>
        </p:nvSpPr>
        <p:spPr bwMode="auto">
          <a:xfrm>
            <a:off x="0" y="6594614"/>
            <a:ext cx="12192000" cy="26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6996" tIns="48497" rIns="96996" bIns="48497">
            <a:spAutoFit/>
          </a:bodyPr>
          <a:lstStyle/>
          <a:p>
            <a:pPr algn="ctr" defTabSz="9698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110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  <a:cs typeface="Calibri" panose="020F0502020204030204" pitchFamily="34" charset="0"/>
              </a:rPr>
              <a:t>Proceso de integración | Información Confidencial</a:t>
            </a:r>
            <a:endParaRPr lang="es-ES_tradnl" sz="11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pitchFamily="34" charset="-128"/>
              <a:cs typeface="Calibri" panose="020F0502020204030204" pitchFamily="34" charset="0"/>
            </a:endParaRPr>
          </a:p>
        </p:txBody>
      </p:sp>
      <p:pic>
        <p:nvPicPr>
          <p:cNvPr id="17" name="Imagem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92" y="1229736"/>
            <a:ext cx="3374233" cy="399104"/>
          </a:xfrm>
          <a:prstGeom prst="rect">
            <a:avLst/>
          </a:prstGeom>
        </p:spPr>
      </p:pic>
      <p:pic>
        <p:nvPicPr>
          <p:cNvPr id="24" name="Imagem 2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4979" y="402211"/>
            <a:ext cx="1608792" cy="1608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079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976208" y="1991016"/>
            <a:ext cx="5853024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_tradnl" noProof="0" dirty="0" err="1"/>
              <a:t>Click</a:t>
            </a:r>
            <a:r>
              <a:rPr lang="es-ES_tradnl" noProof="0" dirty="0"/>
              <a:t> to </a:t>
            </a:r>
            <a:r>
              <a:rPr lang="es-ES_tradnl" noProof="0" dirty="0" err="1"/>
              <a:t>edit</a:t>
            </a:r>
            <a:r>
              <a:rPr lang="es-ES_tradnl" noProof="0" dirty="0"/>
              <a:t> Master </a:t>
            </a:r>
            <a:r>
              <a:rPr lang="es-ES_tradnl" noProof="0" dirty="0" err="1"/>
              <a:t>text</a:t>
            </a:r>
            <a:r>
              <a:rPr lang="es-ES_tradnl" noProof="0" dirty="0"/>
              <a:t> </a:t>
            </a:r>
            <a:r>
              <a:rPr lang="es-ES_tradnl" noProof="0" dirty="0" err="1"/>
              <a:t>styles</a:t>
            </a:r>
            <a:endParaRPr lang="es-ES_tradnl" noProof="0" dirty="0"/>
          </a:p>
          <a:p>
            <a:pPr lvl="1"/>
            <a:r>
              <a:rPr lang="es-ES_tradnl" noProof="0" dirty="0" err="1"/>
              <a:t>Second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2"/>
            <a:r>
              <a:rPr lang="es-ES_tradnl" noProof="0" dirty="0" err="1"/>
              <a:t>Third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3"/>
            <a:r>
              <a:rPr lang="es-ES_tradnl" noProof="0" dirty="0" err="1"/>
              <a:t>Fourth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4"/>
            <a:r>
              <a:rPr lang="es-ES_tradnl" noProof="0" dirty="0" err="1"/>
              <a:t>Fifth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50232" y="6720943"/>
            <a:ext cx="2468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ES_tradnl" sz="1100" smtClean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  <a:cs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11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pitchFamily="34" charset="-128"/>
              <a:cs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552771" y="161935"/>
            <a:ext cx="11246161" cy="394723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s-ES_tradnl" dirty="0" err="1"/>
              <a:t>Click</a:t>
            </a:r>
            <a:r>
              <a:rPr lang="es-ES_tradnl" dirty="0"/>
              <a:t> to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44064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sória de Capítul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edondar Retângulo em um Canto Único 10"/>
          <p:cNvSpPr/>
          <p:nvPr userDrawn="1"/>
        </p:nvSpPr>
        <p:spPr>
          <a:xfrm flipH="1">
            <a:off x="5453081" y="1862052"/>
            <a:ext cx="6738919" cy="4995948"/>
          </a:xfrm>
          <a:prstGeom prst="round1Rect">
            <a:avLst>
              <a:gd name="adj" fmla="val 34603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1" dirty="0">
              <a:solidFill>
                <a:schemeClr val="accent6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168570" y="2870069"/>
            <a:ext cx="5660573" cy="932674"/>
          </a:xfrm>
        </p:spPr>
        <p:txBody>
          <a:bodyPr anchor="t">
            <a:normAutofit/>
          </a:bodyPr>
          <a:lstStyle>
            <a:lvl1pPr marL="0" indent="0">
              <a:buFont typeface="+mj-lt"/>
              <a:buNone/>
              <a:defRPr sz="5401" b="0">
                <a:solidFill>
                  <a:schemeClr val="accent5"/>
                </a:solidFill>
              </a:defRPr>
            </a:lvl1pPr>
          </a:lstStyle>
          <a:p>
            <a:r>
              <a:rPr lang="pt-BR" dirty="0"/>
              <a:t>Divisória</a:t>
            </a:r>
          </a:p>
        </p:txBody>
      </p:sp>
      <p:pic>
        <p:nvPicPr>
          <p:cNvPr id="13" name="Picture 5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73042" y="228986"/>
            <a:ext cx="1829191" cy="1831862"/>
          </a:xfrm>
          <a:prstGeom prst="rect">
            <a:avLst/>
          </a:prstGeom>
        </p:spPr>
      </p:pic>
      <p:sp>
        <p:nvSpPr>
          <p:cNvPr id="5" name="Espaço Reservado para Texto 4"/>
          <p:cNvSpPr>
            <a:spLocks noGrp="1"/>
          </p:cNvSpPr>
          <p:nvPr>
            <p:ph type="body" sz="quarter" idx="10"/>
          </p:nvPr>
        </p:nvSpPr>
        <p:spPr>
          <a:xfrm>
            <a:off x="6168570" y="3815403"/>
            <a:ext cx="5660573" cy="231480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400">
                <a:solidFill>
                  <a:schemeClr val="accent6"/>
                </a:solidFill>
              </a:defRPr>
            </a:lvl2pPr>
            <a:lvl3pPr>
              <a:defRPr sz="2400">
                <a:solidFill>
                  <a:schemeClr val="accent6"/>
                </a:solidFill>
              </a:defRPr>
            </a:lvl3pPr>
            <a:lvl4pPr>
              <a:defRPr sz="2400">
                <a:solidFill>
                  <a:schemeClr val="accent6"/>
                </a:solidFill>
              </a:defRPr>
            </a:lvl4pPr>
            <a:lvl5pPr>
              <a:defRPr sz="24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7" name="TextBox 9"/>
          <p:cNvSpPr txBox="1">
            <a:spLocks noChangeArrowheads="1"/>
          </p:cNvSpPr>
          <p:nvPr userDrawn="1"/>
        </p:nvSpPr>
        <p:spPr bwMode="auto">
          <a:xfrm>
            <a:off x="336000" y="638247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altLang="pt-BR" sz="1001" b="1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taú </a:t>
            </a:r>
            <a:r>
              <a:rPr lang="pt-BR" altLang="pt-BR" sz="1001" b="0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| Información de Uso Interno</a:t>
            </a:r>
            <a:endParaRPr lang="en-US" altLang="pt-BR" sz="1001" b="0" dirty="0">
              <a:solidFill>
                <a:schemeClr val="accent6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8267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56520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6203950" y="1268413"/>
            <a:ext cx="5652050" cy="4824412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97242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5652050" cy="4483943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9"/>
          </p:nvPr>
        </p:nvSpPr>
        <p:spPr>
          <a:xfrm>
            <a:off x="336550" y="1268414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3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400" y="1608881"/>
            <a:ext cx="5652050" cy="4483943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6203950" y="1268414"/>
            <a:ext cx="5651500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848102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115194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3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336000" y="3789363"/>
            <a:ext cx="115194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0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092103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608881"/>
            <a:ext cx="115194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9"/>
          </p:nvPr>
        </p:nvSpPr>
        <p:spPr>
          <a:xfrm>
            <a:off x="336549" y="1268414"/>
            <a:ext cx="11518329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7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336000" y="4129830"/>
            <a:ext cx="11519450" cy="1964581"/>
          </a:xfrm>
        </p:spPr>
        <p:txBody>
          <a:bodyPr>
            <a:normAutofit/>
          </a:bodyPr>
          <a:lstStyle>
            <a:lvl1pPr marL="0" indent="-180000">
              <a:buFont typeface="Arial" panose="020B0604020202020204" pitchFamily="34" charset="0"/>
              <a:buChar char="•"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8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336549" y="3789363"/>
            <a:ext cx="11518329" cy="34046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924555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sp>
        <p:nvSpPr>
          <p:cNvPr id="6" name="Espaço Reservado para Conteúdo 14"/>
          <p:cNvSpPr>
            <a:spLocks noGrp="1"/>
          </p:cNvSpPr>
          <p:nvPr>
            <p:ph sz="quarter" idx="15"/>
          </p:nvPr>
        </p:nvSpPr>
        <p:spPr>
          <a:xfrm>
            <a:off x="336000" y="1268413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9" name="Espaço Reservado para Conteúdo 14"/>
          <p:cNvSpPr>
            <a:spLocks noGrp="1"/>
          </p:cNvSpPr>
          <p:nvPr>
            <p:ph sz="quarter" idx="18"/>
          </p:nvPr>
        </p:nvSpPr>
        <p:spPr>
          <a:xfrm>
            <a:off x="6203950" y="1268413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5" name="Espaço Reservado para Conteúdo 14"/>
          <p:cNvSpPr>
            <a:spLocks noGrp="1"/>
          </p:cNvSpPr>
          <p:nvPr>
            <p:ph sz="quarter" idx="19"/>
          </p:nvPr>
        </p:nvSpPr>
        <p:spPr>
          <a:xfrm>
            <a:off x="336000" y="3792775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6" name="Espaço Reservado para Conteúdo 14"/>
          <p:cNvSpPr>
            <a:spLocks noGrp="1"/>
          </p:cNvSpPr>
          <p:nvPr>
            <p:ph sz="quarter" idx="20"/>
          </p:nvPr>
        </p:nvSpPr>
        <p:spPr>
          <a:xfrm>
            <a:off x="6203950" y="3792775"/>
            <a:ext cx="5652050" cy="23050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0">
                <a:solidFill>
                  <a:schemeClr val="accent6"/>
                </a:solidFill>
              </a:defRPr>
            </a:lvl1pPr>
            <a:lvl2pPr marL="180000" indent="180000">
              <a:lnSpc>
                <a:spcPct val="100000"/>
              </a:lnSpc>
              <a:spcBef>
                <a:spcPts val="1200"/>
              </a:spcBef>
              <a:defRPr sz="1100" b="0">
                <a:solidFill>
                  <a:schemeClr val="accent6"/>
                </a:solidFill>
              </a:defRPr>
            </a:lvl2pPr>
            <a:lvl3pPr>
              <a:defRPr sz="1200">
                <a:solidFill>
                  <a:schemeClr val="accent6"/>
                </a:solidFill>
              </a:defRPr>
            </a:lvl3pPr>
            <a:lvl4pPr>
              <a:defRPr sz="1100">
                <a:solidFill>
                  <a:schemeClr val="accent6"/>
                </a:solidFill>
              </a:defRPr>
            </a:lvl4pPr>
            <a:lvl5pPr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240923"/>
          </a:xfrm>
        </p:spPr>
        <p:txBody>
          <a:bodyPr>
            <a:normAutofit/>
          </a:bodyPr>
          <a:lstStyle>
            <a:lvl1pPr>
              <a:defRPr sz="1400" b="1">
                <a:solidFill>
                  <a:schemeClr val="accent6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11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336550" y="467131"/>
            <a:ext cx="11518900" cy="388938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pt-BR" sz="2800" b="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2" name="Espaço Reservado para Texto 6"/>
          <p:cNvSpPr>
            <a:spLocks noGrp="1"/>
          </p:cNvSpPr>
          <p:nvPr>
            <p:ph type="body" sz="quarter" idx="17"/>
          </p:nvPr>
        </p:nvSpPr>
        <p:spPr>
          <a:xfrm>
            <a:off x="336550" y="835809"/>
            <a:ext cx="11518900" cy="241950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pt-BR" sz="1600" b="0" dirty="0"/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24863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pos="3908">
          <p15:clr>
            <a:srgbClr val="FBAE40"/>
          </p15:clr>
        </p15:guide>
        <p15:guide id="3" pos="3772">
          <p15:clr>
            <a:srgbClr val="FBAE40"/>
          </p15:clr>
        </p15:guide>
        <p15:guide id="4" orient="horz" pos="2387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6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heme" Target="../theme/theme3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36000" y="1019165"/>
            <a:ext cx="11520000" cy="50736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82145" y="6373284"/>
            <a:ext cx="954089" cy="223138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900" b="1">
                <a:solidFill>
                  <a:srgbClr val="606163"/>
                </a:solidFill>
              </a:defRPr>
            </a:lvl1pPr>
          </a:lstStyle>
          <a:p>
            <a:fld id="{9B9BAEC2-C893-4510-BAEC-A634F6DBFF95}" type="slidenum">
              <a:rPr lang="en-US" altLang="pt-BR" smtClean="0"/>
              <a:pPr/>
              <a:t>‹Nº›</a:t>
            </a:fld>
            <a:endParaRPr lang="en-US" altLang="pt-BR" dirty="0"/>
          </a:p>
        </p:txBody>
      </p:sp>
      <p:pic>
        <p:nvPicPr>
          <p:cNvPr id="9" name="Picture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834" y="6213475"/>
            <a:ext cx="541032" cy="542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8219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13" name="TextBox 9"/>
          <p:cNvSpPr txBox="1">
            <a:spLocks noChangeArrowheads="1"/>
          </p:cNvSpPr>
          <p:nvPr/>
        </p:nvSpPr>
        <p:spPr bwMode="auto">
          <a:xfrm>
            <a:off x="336000" y="6373220"/>
            <a:ext cx="9658418" cy="22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pt-BR" altLang="pt-BR" sz="1001" b="1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taú</a:t>
            </a:r>
            <a:r>
              <a:rPr lang="pt-BR" altLang="pt-BR" sz="1001" b="0">
                <a:solidFill>
                  <a:schemeClr val="accent6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| Información de Uso Interno</a:t>
            </a:r>
            <a:endParaRPr lang="en-US" altLang="pt-BR" sz="1001" b="0" dirty="0">
              <a:solidFill>
                <a:schemeClr val="accent6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57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18" r:id="rId2"/>
    <p:sldLayoutId id="2147483673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6" r:id="rId16"/>
    <p:sldLayoutId id="2147483735" r:id="rId17"/>
    <p:sldLayoutId id="2147483731" r:id="rId18"/>
    <p:sldLayoutId id="2147483732" r:id="rId19"/>
    <p:sldLayoutId id="2147483733" r:id="rId20"/>
    <p:sldLayoutId id="2147483734" r:id="rId21"/>
    <p:sldLayoutId id="2147483927" r:id="rId22"/>
  </p:sldLayoutIdLst>
  <p:hf sldNum="0" hdr="0" ftr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001" b="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None/>
        <a:defRPr sz="16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539756" indent="-182566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1" kern="1200">
          <a:solidFill>
            <a:schemeClr val="accent6"/>
          </a:solidFill>
          <a:latin typeface="+mn-lt"/>
          <a:ea typeface="+mn-ea"/>
          <a:cs typeface="+mn-cs"/>
        </a:defRPr>
      </a:lvl2pPr>
      <a:lvl3pPr marL="898536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255729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612920" indent="-174628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212">
          <p15:clr>
            <a:srgbClr val="F26B43"/>
          </p15:clr>
        </p15:guide>
        <p15:guide id="3" pos="7468">
          <p15:clr>
            <a:srgbClr val="F26B43"/>
          </p15:clr>
        </p15:guide>
        <p15:guide id="5" orient="horz" pos="11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intillo_inferior02"/>
          <p:cNvPicPr>
            <a:picLocks noChangeAspect="1" noChangeArrowheads="1"/>
          </p:cNvPicPr>
          <p:nvPr/>
        </p:nvPicPr>
        <p:blipFill>
          <a:blip r:embed="rId13" cstate="print"/>
          <a:srcRect l="293" t="47" r="310"/>
          <a:stretch>
            <a:fillRect/>
          </a:stretch>
        </p:blipFill>
        <p:spPr bwMode="auto">
          <a:xfrm>
            <a:off x="0" y="6"/>
            <a:ext cx="12192000" cy="686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4" descr="A-Santander-negativo_RGB [Convertido]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232905" y="6226181"/>
            <a:ext cx="2891366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6" descr="america_2013_positivo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43219" y="200029"/>
            <a:ext cx="605367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41954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5pPr>
      <a:lvl6pPr marL="498055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6pPr>
      <a:lvl7pPr marL="996111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7pPr>
      <a:lvl8pPr marL="1494166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8pPr>
      <a:lvl9pPr marL="1992222" algn="ctr" rtl="0" fontAlgn="base">
        <a:spcBef>
          <a:spcPct val="0"/>
        </a:spcBef>
        <a:spcAft>
          <a:spcPct val="0"/>
        </a:spcAft>
        <a:defRPr sz="4800">
          <a:solidFill>
            <a:schemeClr val="tx2"/>
          </a:solidFill>
          <a:latin typeface="Arial" charset="0"/>
        </a:defRPr>
      </a:lvl9pPr>
    </p:titleStyle>
    <p:bodyStyle>
      <a:lvl1pPr marL="373542" indent="-373542" algn="l" rtl="0" eaLnBrk="0" fontAlgn="base" hangingPunct="0">
        <a:spcBef>
          <a:spcPct val="20000"/>
        </a:spcBef>
        <a:spcAft>
          <a:spcPct val="0"/>
        </a:spcAft>
        <a:buChar char="•"/>
        <a:defRPr sz="3500">
          <a:solidFill>
            <a:schemeClr val="tx1"/>
          </a:solidFill>
          <a:latin typeface="+mn-lt"/>
          <a:ea typeface="+mn-ea"/>
          <a:cs typeface="+mn-cs"/>
        </a:defRPr>
      </a:lvl1pPr>
      <a:lvl2pPr marL="809340" indent="-311285" algn="l" rtl="0" eaLnBrk="0" fontAlgn="base" hangingPunct="0">
        <a:spcBef>
          <a:spcPct val="20000"/>
        </a:spcBef>
        <a:spcAft>
          <a:spcPct val="0"/>
        </a:spcAft>
        <a:buChar char="–"/>
        <a:defRPr sz="3100">
          <a:solidFill>
            <a:schemeClr val="tx1"/>
          </a:solidFill>
          <a:latin typeface="+mn-lt"/>
        </a:defRPr>
      </a:lvl2pPr>
      <a:lvl3pPr marL="1245139" indent="-249027" algn="l" rtl="0" eaLnBrk="0" fontAlgn="base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</a:defRPr>
      </a:lvl3pPr>
      <a:lvl4pPr marL="1743194" indent="-249027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4pPr>
      <a:lvl5pPr marL="2241249" indent="-249027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739305" indent="-249027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237360" indent="-249027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735415" indent="-249027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233472" indent="-249027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es-CO"/>
      </a:defPPr>
      <a:lvl1pPr marL="0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8055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96111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94166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92222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276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88333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86388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84442" algn="l" defTabSz="9961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7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52771" y="181372"/>
            <a:ext cx="11246161" cy="394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noProof="0" dirty="0" err="1"/>
              <a:t>Click</a:t>
            </a:r>
            <a:r>
              <a:rPr lang="es-ES_tradnl" noProof="0" dirty="0"/>
              <a:t> to </a:t>
            </a:r>
            <a:r>
              <a:rPr lang="es-ES_tradnl" noProof="0" dirty="0" err="1"/>
              <a:t>edit</a:t>
            </a:r>
            <a:r>
              <a:rPr lang="es-ES_tradnl" noProof="0" dirty="0"/>
              <a:t> Master </a:t>
            </a:r>
            <a:r>
              <a:rPr lang="es-ES_tradnl" noProof="0" dirty="0" err="1"/>
              <a:t>title</a:t>
            </a:r>
            <a:r>
              <a:rPr lang="es-ES_tradnl" noProof="0" dirty="0"/>
              <a:t> </a:t>
            </a:r>
            <a:r>
              <a:rPr lang="es-ES_tradnl" noProof="0" dirty="0" err="1"/>
              <a:t>style</a:t>
            </a:r>
            <a:endParaRPr lang="es-ES_tradn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552759" y="-11326"/>
            <a:ext cx="816976" cy="266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_tradnl" sz="1700" dirty="0">
                <a:solidFill>
                  <a:srgbClr val="808080"/>
                </a:solidFill>
                <a:latin typeface="Calibri" panose="020F0502020204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552771" y="740607"/>
            <a:ext cx="11246161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100">
                <a:solidFill>
                  <a:srgbClr val="808080"/>
                </a:solidFill>
                <a:latin typeface="Calibri" panose="020F0502020204030204" pitchFamily="34" charset="0"/>
              </a:rPr>
              <a:t>Unit of measure</a:t>
            </a:r>
            <a:endParaRPr lang="es-ES_tradnl" sz="210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848620" y="5827840"/>
            <a:ext cx="11630453" cy="380640"/>
            <a:chOff x="75" y="3946"/>
            <a:chExt cx="5385" cy="23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6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_tradnl" sz="1300">
                  <a:solidFill>
                    <a:srgbClr val="00000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 panose="020F0502020204030204" pitchFamily="34" charset="0"/>
                </a:rPr>
                <a:t>1 Footnote</a:t>
              </a:r>
              <a:endParaRPr lang="es-ES_tradnl" sz="1300" dirty="0">
                <a:solidFill>
                  <a:srgbClr val="00000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812780" indent="-812780" defTabSz="1193770" fontAlgn="base">
                <a:spcBef>
                  <a:spcPct val="0"/>
                </a:spcBef>
                <a:spcAft>
                  <a:spcPct val="0"/>
                </a:spcAft>
                <a:tabLst>
                  <a:tab pos="817013" algn="l"/>
                </a:tabLst>
              </a:pPr>
              <a:r>
                <a:rPr lang="es-ES_tradnl" sz="1300">
                  <a:solidFill>
                    <a:srgbClr val="00000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 panose="020F0502020204030204" pitchFamily="34" charset="0"/>
                </a:rPr>
                <a:t>SOURCE: Source</a:t>
              </a:r>
              <a:endParaRPr lang="es-ES_tradnl" sz="1300" dirty="0">
                <a:solidFill>
                  <a:srgbClr val="00000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50034"/>
            <a:ext cx="5801189" cy="681913"/>
            <a:chOff x="915" y="710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131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2100" b="1" dirty="0">
                  <a:solidFill>
                    <a:srgbClr val="00000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2100">
                  <a:solidFill>
                    <a:srgbClr val="808080"/>
                  </a:solidFill>
                  <a:latin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  <a:endParaRPr lang="es-ES_tradnl" sz="2100" dirty="0">
                <a:solidFill>
                  <a:srgbClr val="80808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1016"/>
            <a:ext cx="5853024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_tradnl" noProof="0" dirty="0" err="1"/>
              <a:t>Click</a:t>
            </a:r>
            <a:r>
              <a:rPr lang="es-ES_tradnl" noProof="0" dirty="0"/>
              <a:t> to </a:t>
            </a:r>
            <a:r>
              <a:rPr lang="es-ES_tradnl" noProof="0" dirty="0" err="1"/>
              <a:t>edit</a:t>
            </a:r>
            <a:r>
              <a:rPr lang="es-ES_tradnl" noProof="0" dirty="0"/>
              <a:t> Master </a:t>
            </a:r>
            <a:r>
              <a:rPr lang="es-ES_tradnl" noProof="0" dirty="0" err="1"/>
              <a:t>text</a:t>
            </a:r>
            <a:r>
              <a:rPr lang="es-ES_tradnl" noProof="0" dirty="0"/>
              <a:t> </a:t>
            </a:r>
            <a:r>
              <a:rPr lang="es-ES_tradnl" noProof="0" dirty="0" err="1"/>
              <a:t>styles</a:t>
            </a:r>
            <a:endParaRPr lang="es-ES_tradnl" noProof="0" dirty="0"/>
          </a:p>
          <a:p>
            <a:pPr lvl="1"/>
            <a:r>
              <a:rPr lang="es-ES_tradnl" noProof="0" dirty="0" err="1"/>
              <a:t>Second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2"/>
            <a:r>
              <a:rPr lang="es-ES_tradnl" noProof="0" dirty="0" err="1"/>
              <a:t>Third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3"/>
            <a:r>
              <a:rPr lang="es-ES_tradnl" noProof="0" dirty="0" err="1"/>
              <a:t>Fourth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  <a:p>
            <a:pPr lvl="4"/>
            <a:r>
              <a:rPr lang="es-ES_tradnl" noProof="0" dirty="0" err="1"/>
              <a:t>Fifth</a:t>
            </a:r>
            <a:r>
              <a:rPr lang="es-ES_tradnl" noProof="0" dirty="0"/>
              <a:t> </a:t>
            </a:r>
            <a:r>
              <a:rPr lang="es-ES_tradnl" noProof="0" dirty="0" err="1"/>
              <a:t>level</a:t>
            </a:r>
            <a:endParaRPr lang="es-ES_tradnl" noProof="0" dirty="0"/>
          </a:p>
        </p:txBody>
      </p:sp>
      <p:sp>
        <p:nvSpPr>
          <p:cNvPr id="24" name="Rectangle 9"/>
          <p:cNvSpPr>
            <a:spLocks noChangeArrowheads="1"/>
          </p:cNvSpPr>
          <p:nvPr/>
        </p:nvSpPr>
        <p:spPr bwMode="auto">
          <a:xfrm>
            <a:off x="0" y="6594614"/>
            <a:ext cx="12192000" cy="2672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6996" tIns="48497" rIns="96996" bIns="48497">
            <a:spAutoFit/>
          </a:bodyPr>
          <a:lstStyle/>
          <a:p>
            <a:pPr algn="ctr" defTabSz="9698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110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  <a:cs typeface="Calibri" panose="020F0502020204030204" pitchFamily="34" charset="0"/>
              </a:rPr>
              <a:t>Proceso de integración | Información Confidencial</a:t>
            </a:r>
            <a:endParaRPr lang="es-ES_tradnl" sz="11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pitchFamily="34" charset="-128"/>
              <a:cs typeface="Calibri" panose="020F0502020204030204" pitchFamily="34" charset="0"/>
            </a:endParaRPr>
          </a:p>
        </p:txBody>
      </p:sp>
      <p:pic>
        <p:nvPicPr>
          <p:cNvPr id="21" name="Image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08" y="6533912"/>
            <a:ext cx="1373705" cy="162481"/>
          </a:xfrm>
          <a:prstGeom prst="rect">
            <a:avLst/>
          </a:prstGeom>
        </p:spPr>
      </p:pic>
      <p:pic>
        <p:nvPicPr>
          <p:cNvPr id="22" name="Image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131" y="6201740"/>
            <a:ext cx="654965" cy="654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05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</p:sldLayoutIdLst>
  <p:hf hdr="0" ftr="0" dt="0"/>
  <p:txStyles>
    <p:titleStyle>
      <a:lvl1pPr algn="l" defTabSz="1193770" rtl="0" eaLnBrk="1" fontAlgn="base" hangingPunct="1">
        <a:lnSpc>
          <a:spcPct val="95000"/>
        </a:lnSpc>
        <a:spcBef>
          <a:spcPct val="0"/>
        </a:spcBef>
        <a:spcAft>
          <a:spcPct val="0"/>
        </a:spcAft>
        <a:tabLst>
          <a:tab pos="359824" algn="l"/>
        </a:tabLst>
        <a:defRPr sz="2700" b="1" baseline="0">
          <a:solidFill>
            <a:srgbClr val="FF6600"/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accent1">
            <a:lumMod val="60000"/>
            <a:lumOff val="40000"/>
          </a:schemeClr>
        </a:buClr>
        <a:defRPr sz="2100" baseline="0">
          <a:solidFill>
            <a:schemeClr val="tx1">
              <a:lumMod val="75000"/>
              <a:lumOff val="25000"/>
            </a:schemeClr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accent1">
            <a:lumMod val="60000"/>
            <a:lumOff val="40000"/>
          </a:schemeClr>
        </a:buClr>
        <a:buSzPct val="125000"/>
        <a:buFont typeface="Arial" charset="0"/>
        <a:buChar char="▪"/>
        <a:defRPr sz="2100" baseline="0">
          <a:solidFill>
            <a:schemeClr val="tx1">
              <a:lumMod val="75000"/>
              <a:lumOff val="25000"/>
            </a:schemeClr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accent1">
            <a:lumMod val="60000"/>
            <a:lumOff val="40000"/>
          </a:schemeClr>
        </a:buClr>
        <a:buSzPct val="120000"/>
        <a:buFont typeface="Arial" charset="0"/>
        <a:buChar char="–"/>
        <a:defRPr sz="2100" baseline="0">
          <a:solidFill>
            <a:schemeClr val="tx1">
              <a:lumMod val="75000"/>
              <a:lumOff val="25000"/>
            </a:schemeClr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accent1">
            <a:lumMod val="60000"/>
            <a:lumOff val="40000"/>
          </a:schemeClr>
        </a:buClr>
        <a:buSzPct val="120000"/>
        <a:buFont typeface="Arial" charset="0"/>
        <a:buChar char="▫"/>
        <a:defRPr sz="2100" baseline="0">
          <a:solidFill>
            <a:schemeClr val="tx1">
              <a:lumMod val="75000"/>
              <a:lumOff val="25000"/>
            </a:schemeClr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accent1">
            <a:lumMod val="60000"/>
            <a:lumOff val="40000"/>
          </a:schemeClr>
        </a:buClr>
        <a:buSzPct val="89000"/>
        <a:buFont typeface="Arial" charset="0"/>
        <a:buChar char="-"/>
        <a:defRPr sz="2100" baseline="0">
          <a:solidFill>
            <a:schemeClr val="tx1">
              <a:lumMod val="75000"/>
              <a:lumOff val="25000"/>
            </a:schemeClr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4"/>
          <p:cNvSpPr>
            <a:spLocks noGrp="1"/>
          </p:cNvSpPr>
          <p:nvPr/>
        </p:nvSpPr>
        <p:spPr>
          <a:xfrm>
            <a:off x="330560" y="405019"/>
            <a:ext cx="11518900" cy="3889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200" b="1" dirty="0">
                <a:solidFill>
                  <a:schemeClr val="accent5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Designación Defensor del Consumidor Financiero</a:t>
            </a:r>
            <a:r>
              <a:rPr lang="pt-BR" sz="2800" dirty="0">
                <a:solidFill>
                  <a:schemeClr val="accent5"/>
                </a:solidFill>
              </a:rPr>
              <a:t> </a:t>
            </a:r>
            <a:r>
              <a:rPr lang="pt-BR" sz="1700" b="1" dirty="0">
                <a:solidFill>
                  <a:schemeClr val="bg1">
                    <a:lumMod val="50000"/>
                  </a:schemeClr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Art. 18 Ley 1328 de 2009</a:t>
            </a:r>
          </a:p>
        </p:txBody>
      </p:sp>
      <p:sp>
        <p:nvSpPr>
          <p:cNvPr id="80" name="CuadroTexto 79"/>
          <p:cNvSpPr txBox="1"/>
          <p:nvPr/>
        </p:nvSpPr>
        <p:spPr>
          <a:xfrm>
            <a:off x="663598" y="5256189"/>
            <a:ext cx="3937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>
                <a:solidFill>
                  <a:srgbClr val="FF7800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En conclusión…</a:t>
            </a:r>
          </a:p>
        </p:txBody>
      </p:sp>
      <p:sp>
        <p:nvSpPr>
          <p:cNvPr id="81" name="CuadroTexto 80"/>
          <p:cNvSpPr txBox="1"/>
          <p:nvPr/>
        </p:nvSpPr>
        <p:spPr>
          <a:xfrm>
            <a:off x="969834" y="5602695"/>
            <a:ext cx="9969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Teniendo en cuenta el desempeño y servicio prestado por </a:t>
            </a:r>
            <a:r>
              <a:rPr lang="es-CO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Estudio Jurídico Ustáriz &amp; Abogados </a:t>
            </a:r>
            <a:r>
              <a:rPr lang="es-CO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junto con la infraestructura proporcionada para el manejo y atención de las quejas, y realizado el análisis de las propuestas presentadas, se propone prorrogar por los siguientes dos </a:t>
            </a:r>
            <a:r>
              <a:rPr lang="es-CO" sz="1200" b="1" dirty="0">
                <a:solidFill>
                  <a:srgbClr val="FF7800"/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(2)</a:t>
            </a:r>
            <a:r>
              <a:rPr lang="es-CO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 años el contrato de Defensoría del Consumidor Financiero a la firma </a:t>
            </a:r>
            <a:r>
              <a:rPr lang="es-CO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Estudio Jurídico Ustáriz &amp; Abogados</a:t>
            </a:r>
            <a:r>
              <a:rPr lang="es-CO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Itau Text" panose="020B0503020204020203" pitchFamily="34" charset="0"/>
                <a:cs typeface="Itau Text" panose="020B0503020204020203" pitchFamily="34" charset="0"/>
              </a:rPr>
              <a:t>.</a:t>
            </a:r>
          </a:p>
        </p:txBody>
      </p:sp>
      <p:sp>
        <p:nvSpPr>
          <p:cNvPr id="86" name="Rectángulo 16"/>
          <p:cNvSpPr/>
          <p:nvPr/>
        </p:nvSpPr>
        <p:spPr>
          <a:xfrm>
            <a:off x="10570028" y="6443765"/>
            <a:ext cx="846261" cy="230832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r"/>
            <a:r>
              <a:rPr lang="en-US" altLang="pt-BR" sz="900" b="1" dirty="0">
                <a:solidFill>
                  <a:srgbClr val="606163"/>
                </a:solidFill>
              </a:rPr>
              <a:t>13</a:t>
            </a:r>
          </a:p>
        </p:txBody>
      </p:sp>
      <p:graphicFrame>
        <p:nvGraphicFramePr>
          <p:cNvPr id="51" name="Tabla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305518"/>
              </p:ext>
            </p:extLst>
          </p:nvPr>
        </p:nvGraphicFramePr>
        <p:xfrm>
          <a:off x="2480287" y="1065459"/>
          <a:ext cx="6350205" cy="392409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73929">
                  <a:extLst>
                    <a:ext uri="{9D8B030D-6E8A-4147-A177-3AD203B41FA5}">
                      <a16:colId xmlns:a16="http://schemas.microsoft.com/office/drawing/2014/main" val="1145550867"/>
                    </a:ext>
                  </a:extLst>
                </a:gridCol>
                <a:gridCol w="2476276">
                  <a:extLst>
                    <a:ext uri="{9D8B030D-6E8A-4147-A177-3AD203B41FA5}">
                      <a16:colId xmlns:a16="http://schemas.microsoft.com/office/drawing/2014/main" val="687221419"/>
                    </a:ext>
                  </a:extLst>
                </a:gridCol>
              </a:tblGrid>
              <a:tr h="449376">
                <a:tc>
                  <a:txBody>
                    <a:bodyPr/>
                    <a:lstStyle/>
                    <a:p>
                      <a:pPr marL="0" marR="0" indent="0" algn="ctr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dirty="0">
                          <a:solidFill>
                            <a:schemeClr val="bg1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Defensoría del Consumidor Financiero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dirty="0">
                          <a:solidFill>
                            <a:schemeClr val="bg1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Estudio Jurídico Ustáriz &amp; Abogad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498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Infraestructura tecnológ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1124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Infraestructura física y logíst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88505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Variedad en canales de aten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1492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Software propio</a:t>
                      </a:r>
                      <a:r>
                        <a:rPr lang="es-CO" sz="10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 </a:t>
                      </a: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para</a:t>
                      </a:r>
                      <a:r>
                        <a:rPr lang="es-CO" sz="10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 la</a:t>
                      </a: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 administración de quej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13894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Cos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7883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Experiencia en el sector financie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kern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Bancolombia, Coomeva, Pichincha, Falabella, Mundo Mujer, Itaú desde 2018</a:t>
                      </a:r>
                      <a:r>
                        <a:rPr lang="pt-BR" sz="1000" kern="0" baseline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.</a:t>
                      </a:r>
                      <a:r>
                        <a:rPr lang="pt-BR" sz="1000" kern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 (</a:t>
                      </a:r>
                      <a:r>
                        <a:rPr lang="es-CO" sz="1000" kern="0" noProof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Posesionado</a:t>
                      </a:r>
                      <a:r>
                        <a:rPr lang="pt-BR" sz="1000" kern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 </a:t>
                      </a:r>
                      <a:r>
                        <a:rPr lang="es-CO" sz="1000" kern="0" noProof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actualmente</a:t>
                      </a:r>
                      <a:r>
                        <a:rPr lang="pt-BR" sz="1000" kern="0" dirty="0">
                          <a:solidFill>
                            <a:srgbClr val="606163"/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)</a:t>
                      </a:r>
                      <a:endParaRPr lang="es-CO" sz="1000" dirty="0">
                        <a:latin typeface="Itau Text" panose="020B0503020204020203" pitchFamily="34" charset="0"/>
                        <a:cs typeface="Itau Text" panose="020B050302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682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Honor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Vr</a:t>
                      </a:r>
                      <a:r>
                        <a:rPr lang="es-CO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. mensual.</a:t>
                      </a:r>
                    </a:p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kern="1200" dirty="0">
                          <a:solidFill>
                            <a:srgbClr val="FF7800"/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$9,500,000 </a:t>
                      </a:r>
                      <a:r>
                        <a:rPr lang="es-CO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más IVA.</a:t>
                      </a:r>
                      <a:endParaRPr lang="es-CO" sz="10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Itau Text" panose="020B0503020204020203" pitchFamily="34" charset="0"/>
                        <a:ea typeface="+mn-ea"/>
                        <a:cs typeface="Itau Text" panose="020B0503020204020203" pitchFamily="34" charset="0"/>
                      </a:endParaRPr>
                    </a:p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Sin límite de quejas</a:t>
                      </a:r>
                    </a:p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Incremento anual SMLM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20374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tau Text" panose="020B0503020204020203" pitchFamily="34" charset="0"/>
                          <a:cs typeface="Itau Text" panose="020B0503020204020203" pitchFamily="34" charset="0"/>
                        </a:rPr>
                        <a:t>Valor Anu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kern="1200" dirty="0">
                          <a:solidFill>
                            <a:srgbClr val="FF7800"/>
                          </a:solidFill>
                          <a:latin typeface="Itau Text" panose="020B0503020204020203" pitchFamily="34" charset="0"/>
                          <a:ea typeface="+mn-ea"/>
                          <a:cs typeface="Itau Text" panose="020B0503020204020203" pitchFamily="34" charset="0"/>
                        </a:rPr>
                        <a:t>$162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655717"/>
                  </a:ext>
                </a:extLst>
              </a:tr>
            </a:tbl>
          </a:graphicData>
        </a:graphic>
      </p:graphicFrame>
      <p:pic>
        <p:nvPicPr>
          <p:cNvPr id="52" name="Picture 2" descr="Resultado de imagen para check">
            <a:extLst>
              <a:ext uri="{FF2B5EF4-FFF2-40B4-BE49-F238E27FC236}">
                <a16:creationId xmlns:a16="http://schemas.microsoft.com/office/drawing/2014/main" id="{32FE4B17-78CF-4C75-B380-C9D39CB24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EFEBEE"/>
              </a:clrFrom>
              <a:clrTo>
                <a:srgbClr val="EFEB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10497" r="67215" b="10552"/>
          <a:stretch/>
        </p:blipFill>
        <p:spPr bwMode="auto">
          <a:xfrm>
            <a:off x="7308303" y="1537505"/>
            <a:ext cx="356002" cy="28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Resultado de imagen para check">
            <a:extLst>
              <a:ext uri="{FF2B5EF4-FFF2-40B4-BE49-F238E27FC236}">
                <a16:creationId xmlns:a16="http://schemas.microsoft.com/office/drawing/2014/main" id="{32FE4B17-78CF-4C75-B380-C9D39CB24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EFEBEE"/>
              </a:clrFrom>
              <a:clrTo>
                <a:srgbClr val="EFEB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10497" r="67215" b="10552"/>
          <a:stretch/>
        </p:blipFill>
        <p:spPr bwMode="auto">
          <a:xfrm>
            <a:off x="7321811" y="1921397"/>
            <a:ext cx="356002" cy="28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Resultado de imagen para check">
            <a:extLst>
              <a:ext uri="{FF2B5EF4-FFF2-40B4-BE49-F238E27FC236}">
                <a16:creationId xmlns:a16="http://schemas.microsoft.com/office/drawing/2014/main" id="{32FE4B17-78CF-4C75-B380-C9D39CB24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EFEBEE"/>
              </a:clrFrom>
              <a:clrTo>
                <a:srgbClr val="EFEB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10497" r="67215" b="10552"/>
          <a:stretch/>
        </p:blipFill>
        <p:spPr bwMode="auto">
          <a:xfrm>
            <a:off x="7335314" y="2270572"/>
            <a:ext cx="356002" cy="28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Resultado de imagen para check">
            <a:extLst>
              <a:ext uri="{FF2B5EF4-FFF2-40B4-BE49-F238E27FC236}">
                <a16:creationId xmlns:a16="http://schemas.microsoft.com/office/drawing/2014/main" id="{32FE4B17-78CF-4C75-B380-C9D39CB24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EFEBEE"/>
              </a:clrFrom>
              <a:clrTo>
                <a:srgbClr val="EFEB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10497" r="67215" b="10552"/>
          <a:stretch/>
        </p:blipFill>
        <p:spPr bwMode="auto">
          <a:xfrm>
            <a:off x="7337243" y="2642893"/>
            <a:ext cx="356002" cy="28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ítulo 1"/>
          <p:cNvSpPr>
            <a:spLocks noGrp="1"/>
          </p:cNvSpPr>
          <p:nvPr>
            <p:ph type="title"/>
          </p:nvPr>
        </p:nvSpPr>
        <p:spPr>
          <a:xfrm>
            <a:off x="194584" y="138466"/>
            <a:ext cx="11520000" cy="240923"/>
          </a:xfrm>
        </p:spPr>
        <p:txBody>
          <a:bodyPr>
            <a:noAutofit/>
          </a:bodyPr>
          <a:lstStyle/>
          <a:p>
            <a:r>
              <a:rPr lang="pt-BR" sz="13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Informe SAC II Semestre 2021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11503669" y="6270815"/>
            <a:ext cx="421419" cy="492981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23" name="Picture 2" descr="Resultado de imagen para check">
            <a:extLst>
              <a:ext uri="{FF2B5EF4-FFF2-40B4-BE49-F238E27FC236}">
                <a16:creationId xmlns:a16="http://schemas.microsoft.com/office/drawing/2014/main" id="{32FE4B17-78CF-4C75-B380-C9D39CB24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EFEBEE"/>
              </a:clrFrom>
              <a:clrTo>
                <a:srgbClr val="EFEB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" t="10497" r="67215" b="10552"/>
          <a:stretch/>
        </p:blipFill>
        <p:spPr bwMode="auto">
          <a:xfrm>
            <a:off x="7335314" y="3019710"/>
            <a:ext cx="356002" cy="286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000D0024-A023-B947-8E2B-B546461AB0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3571" b="71014"/>
          <a:stretch/>
        </p:blipFill>
        <p:spPr>
          <a:xfrm>
            <a:off x="10318554" y="0"/>
            <a:ext cx="1873446" cy="18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05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3FBDD8B9-8703-314C-8CBF-CBB85A597C1B}"/>
              </a:ext>
            </a:extLst>
          </p:cNvPr>
          <p:cNvSpPr/>
          <p:nvPr/>
        </p:nvSpPr>
        <p:spPr>
          <a:xfrm>
            <a:off x="0" y="0"/>
            <a:ext cx="12283440" cy="6939280"/>
          </a:xfrm>
          <a:prstGeom prst="rect">
            <a:avLst/>
          </a:prstGeom>
          <a:solidFill>
            <a:srgbClr val="E4701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87" name="Rectángulo 2"/>
          <p:cNvSpPr txBox="1"/>
          <p:nvPr/>
        </p:nvSpPr>
        <p:spPr>
          <a:xfrm>
            <a:off x="1402080" y="2453977"/>
            <a:ext cx="2841736" cy="10156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9200" b="1" spc="300">
                <a:solidFill>
                  <a:srgbClr val="FFFFFF"/>
                </a:solidFill>
                <a:latin typeface="Itau Display XBold"/>
                <a:ea typeface="Itau Display XBold"/>
                <a:cs typeface="Itau Display XBold"/>
                <a:sym typeface="Itau Display XBold"/>
              </a:defRPr>
            </a:pPr>
            <a:r>
              <a:rPr sz="6000" dirty="0">
                <a:solidFill>
                  <a:schemeClr val="bg1"/>
                </a:solidFill>
              </a:rPr>
              <a:t>Gracia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18AF62B-6D22-A741-84E3-FD747978E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080" y="3705898"/>
            <a:ext cx="4083844" cy="958859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ACB23E3-D09F-234C-A508-785D6590145A}"/>
              </a:ext>
            </a:extLst>
          </p:cNvPr>
          <p:cNvSpPr txBox="1">
            <a:spLocks/>
          </p:cNvSpPr>
          <p:nvPr/>
        </p:nvSpPr>
        <p:spPr>
          <a:xfrm>
            <a:off x="5274311" y="4267046"/>
            <a:ext cx="376034" cy="305551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>
                <a:solidFill>
                  <a:srgbClr val="FFFF00"/>
                </a:solidFill>
                <a:latin typeface="Itau Display XBold" panose="020B0503020204020204" pitchFamily="34" charset="0"/>
                <a:cs typeface="Itau Display XBold" panose="020B0503020204020204" pitchFamily="34" charset="0"/>
              </a:rPr>
              <a:t>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6695615-F7F6-7F42-BE61-722B2000B5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8004" y="1945640"/>
            <a:ext cx="3048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93885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7" grpId="0" animBg="1" advAuto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ga">
  <a:themeElements>
    <a:clrScheme name="DGA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D4080"/>
      </a:accent1>
      <a:accent2>
        <a:srgbClr val="CDD7EA"/>
      </a:accent2>
      <a:accent3>
        <a:srgbClr val="73C6A1"/>
      </a:accent3>
      <a:accent4>
        <a:srgbClr val="DEF0E7"/>
      </a:accent4>
      <a:accent5>
        <a:srgbClr val="FF7800"/>
      </a:accent5>
      <a:accent6>
        <a:srgbClr val="5F6062"/>
      </a:accent6>
      <a:hlink>
        <a:srgbClr val="73C6A1"/>
      </a:hlink>
      <a:folHlink>
        <a:srgbClr val="DEF0E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ga" id="{3F891F63-2C67-4748-B1DF-AB62AA546F91}" vid="{9523A841-7216-4562-B5E3-765EFFF7F9D7}"/>
    </a:ext>
  </a:extLst>
</a:theme>
</file>

<file path=ppt/theme/theme2.xml><?xml version="1.0" encoding="utf-8"?>
<a:theme xmlns:a="http://schemas.openxmlformats.org/drawingml/2006/main" name="Diseño personalizado">
  <a:themeElements>
    <a:clrScheme name="Diseño personaliz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Firm Format - English (US)">
  <a:themeElements>
    <a:clrScheme name="Custom 1">
      <a:dk1>
        <a:srgbClr val="000000"/>
      </a:dk1>
      <a:lt1>
        <a:srgbClr val="FFFFFF"/>
      </a:lt1>
      <a:dk2>
        <a:srgbClr val="1D4080"/>
      </a:dk2>
      <a:lt2>
        <a:srgbClr val="FFFFFF"/>
      </a:lt2>
      <a:accent1>
        <a:srgbClr val="1D4080"/>
      </a:accent1>
      <a:accent2>
        <a:srgbClr val="FF9900"/>
      </a:accent2>
      <a:accent3>
        <a:srgbClr val="7F7F7F"/>
      </a:accent3>
      <a:accent4>
        <a:srgbClr val="95B3D7"/>
      </a:accent4>
      <a:accent5>
        <a:srgbClr val="BFBFBF"/>
      </a:accent5>
      <a:accent6>
        <a:srgbClr val="993300"/>
      </a:accent6>
      <a:hlink>
        <a:srgbClr val="1D4080"/>
      </a:hlink>
      <a:folHlink>
        <a:srgbClr val="FF99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/>
      </a:spPr>
      <a:bodyPr rtlCol="0" anchor="ctr"/>
      <a:lstStyle>
        <a:defPPr algn="just">
          <a:defRPr sz="800" b="1" dirty="0" smtClean="0">
            <a:solidFill>
              <a:srgbClr val="FF6600"/>
            </a:solidFill>
          </a:defRPr>
        </a:defPPr>
      </a:lstStyle>
      <a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.potx" id="{04F4158E-B82F-4005-BC45-DDA695879C64}" vid="{E11D8FF4-BD1A-4D1E-85C9-98B2B42913B9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7811</TotalTime>
  <Words>161</Words>
  <Application>Microsoft Office PowerPoint</Application>
  <PresentationFormat>Panorámica</PresentationFormat>
  <Paragraphs>24</Paragraphs>
  <Slides>2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1" baseType="lpstr">
      <vt:lpstr>Arial</vt:lpstr>
      <vt:lpstr>Calibri</vt:lpstr>
      <vt:lpstr>Itau Display</vt:lpstr>
      <vt:lpstr>Itau Display XBold</vt:lpstr>
      <vt:lpstr>Itau Text</vt:lpstr>
      <vt:lpstr>dga</vt:lpstr>
      <vt:lpstr>Diseño personalizado</vt:lpstr>
      <vt:lpstr>6_Firm Format - English (US)</vt:lpstr>
      <vt:lpstr>think-cell Slide</vt:lpstr>
      <vt:lpstr>Informe SAC II Semestre 2021</vt:lpstr>
      <vt:lpstr>Presentación de PowerPoint</vt:lpstr>
    </vt:vector>
  </TitlesOfParts>
  <Company>Itau Unibanco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ual Powerpoint</dc:title>
  <dc:creator>Rafael Eiji Saito</dc:creator>
  <cp:lastModifiedBy>Juan Sebastian Pardo Pedraza</cp:lastModifiedBy>
  <cp:revision>3117</cp:revision>
  <cp:lastPrinted>2017-12-12T13:37:31Z</cp:lastPrinted>
  <dcterms:created xsi:type="dcterms:W3CDTF">2016-08-23T12:44:29Z</dcterms:created>
  <dcterms:modified xsi:type="dcterms:W3CDTF">2022-03-15T19:1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DLPManualFileClassification">
    <vt:lpwstr>{BD155BAA-8895-42FB-B81A-2292C94D1A70}</vt:lpwstr>
  </property>
  <property fmtid="{D5CDD505-2E9C-101B-9397-08002B2CF9AE}" pid="4" name="DLPManualFileClassificationLastModifiedBy">
    <vt:lpwstr>ITAUCO\VM18471</vt:lpwstr>
  </property>
  <property fmtid="{D5CDD505-2E9C-101B-9397-08002B2CF9AE}" pid="5" name="DLPManualFileClassificationLastModificationDate">
    <vt:lpwstr>1611946713</vt:lpwstr>
  </property>
  <property fmtid="{D5CDD505-2E9C-101B-9397-08002B2CF9AE}" pid="6" name="DLPManualFileClassificationVersion">
    <vt:lpwstr>11.6.0.76</vt:lpwstr>
  </property>
</Properties>
</file>